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notesSlides/notesSlide12.xml" ContentType="application/vnd.openxmlformats-officedocument.presentationml.notesSlide+xml"/>
  <Override PartName="/ppt/tags/tag32.xml" ContentType="application/vnd.openxmlformats-officedocument.presentationml.tags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9"/>
  </p:notesMasterIdLst>
  <p:sldIdLst>
    <p:sldId id="273" r:id="rId5"/>
    <p:sldId id="2147482901" r:id="rId6"/>
    <p:sldId id="2147483352" r:id="rId7"/>
    <p:sldId id="2147483068" r:id="rId8"/>
    <p:sldId id="2147482904" r:id="rId9"/>
    <p:sldId id="2147483355" r:id="rId10"/>
    <p:sldId id="2147483070" r:id="rId11"/>
    <p:sldId id="2147483073" r:id="rId12"/>
    <p:sldId id="2147483074" r:id="rId13"/>
    <p:sldId id="2147482955" r:id="rId14"/>
    <p:sldId id="2147483356" r:id="rId15"/>
    <p:sldId id="2147482974" r:id="rId16"/>
    <p:sldId id="2147482975" r:id="rId17"/>
    <p:sldId id="2147482986" r:id="rId18"/>
    <p:sldId id="2147482987" r:id="rId19"/>
    <p:sldId id="2147482988" r:id="rId20"/>
    <p:sldId id="2147473785" r:id="rId21"/>
    <p:sldId id="2147483357" r:id="rId22"/>
    <p:sldId id="951" r:id="rId23"/>
    <p:sldId id="2147473185" r:id="rId24"/>
    <p:sldId id="2147483078" r:id="rId25"/>
    <p:sldId id="2147483072" r:id="rId26"/>
    <p:sldId id="2147483350" r:id="rId27"/>
    <p:sldId id="2147483351" r:id="rId28"/>
  </p:sldIdLst>
  <p:sldSz cx="12192000" cy="6858000"/>
  <p:notesSz cx="6797675" cy="9872663"/>
  <p:custDataLst>
    <p:tags r:id="rId30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73"/>
            <p14:sldId id="2147482901"/>
            <p14:sldId id="2147483352"/>
            <p14:sldId id="2147483068"/>
            <p14:sldId id="2147482904"/>
            <p14:sldId id="2147483355"/>
            <p14:sldId id="2147483070"/>
            <p14:sldId id="2147483073"/>
            <p14:sldId id="2147483074"/>
            <p14:sldId id="2147482955"/>
            <p14:sldId id="2147483356"/>
            <p14:sldId id="2147482974"/>
            <p14:sldId id="2147482975"/>
            <p14:sldId id="2147482986"/>
            <p14:sldId id="2147482987"/>
            <p14:sldId id="2147482988"/>
            <p14:sldId id="2147473785"/>
            <p14:sldId id="2147483357"/>
            <p14:sldId id="951"/>
            <p14:sldId id="2147473185"/>
            <p14:sldId id="2147483078"/>
            <p14:sldId id="2147483072"/>
            <p14:sldId id="2147483350"/>
            <p14:sldId id="2147483351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FDC7F346-4312-36AF-0FF5-21C8082AB47A}" name="Claes Jensen" initials="CJ" userId="S::cljensen@nilfisk.com::4b63c7b0-aedc-4164-ae98-dea0b535c4ad" providerId="AD"/>
  <p188:author id="{E3AD689E-262B-A935-CEC3-AFF9757E6F5F}" name="Emma Jakobsen" initials="EJ" userId="S::ejakobsen@Nilfisk.com::7d62d3cc-97a4-4c56-8920-5d34f7ee0561" providerId="AD"/>
  <p188:author id="{869C6DC8-D2BD-AF91-A155-D0F8AE0BC728}" name="Claes Jensen" initials="CJ" userId="S::cljensen@Nilfisk.com::4b63c7b0-aedc-4164-ae98-dea0b535c4a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5976"/>
    <a:srgbClr val="7A0000"/>
    <a:srgbClr val="FFFFAF"/>
    <a:srgbClr val="8997A4"/>
    <a:srgbClr val="7C878E"/>
    <a:srgbClr val="000000"/>
    <a:srgbClr val="979797"/>
    <a:srgbClr val="4B4F54"/>
    <a:srgbClr val="606A70"/>
    <a:srgbClr val="D4C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28A585-9B84-F0FD-3941-EEAA7F22DF72}" v="728" dt="2025-12-19T10:14:46.44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ivia Taylor" userId="S::otaylor@nilfisk.com::c79b40f9-21eb-4631-b2ed-a33620a58e56" providerId="AD" clId="Web-{1D28A585-9B84-F0FD-3941-EEAA7F22DF72}"/>
    <pc:docChg chg="addSld delSld modSld modSection">
      <pc:chgData name="Olivia Taylor" userId="S::otaylor@nilfisk.com::c79b40f9-21eb-4631-b2ed-a33620a58e56" providerId="AD" clId="Web-{1D28A585-9B84-F0FD-3941-EEAA7F22DF72}" dt="2025-12-19T10:14:46.441" v="234" actId="20577"/>
      <pc:docMkLst>
        <pc:docMk/>
      </pc:docMkLst>
      <pc:sldChg chg="modSp">
        <pc:chgData name="Olivia Taylor" userId="S::otaylor@nilfisk.com::c79b40f9-21eb-4631-b2ed-a33620a58e56" providerId="AD" clId="Web-{1D28A585-9B84-F0FD-3941-EEAA7F22DF72}" dt="2025-12-19T10:01:37.510" v="8" actId="20577"/>
        <pc:sldMkLst>
          <pc:docMk/>
          <pc:sldMk cId="4178317396" sldId="273"/>
        </pc:sldMkLst>
        <pc:spChg chg="mod">
          <ac:chgData name="Olivia Taylor" userId="S::otaylor@nilfisk.com::c79b40f9-21eb-4631-b2ed-a33620a58e56" providerId="AD" clId="Web-{1D28A585-9B84-F0FD-3941-EEAA7F22DF72}" dt="2025-12-19T10:01:37.510" v="8" actId="20577"/>
          <ac:spMkLst>
            <pc:docMk/>
            <pc:sldMk cId="4178317396" sldId="273"/>
            <ac:spMk id="3" creationId="{08F58484-5BC4-4866-93A0-0360B816257A}"/>
          </ac:spMkLst>
        </pc:spChg>
      </pc:sldChg>
      <pc:sldChg chg="modSp">
        <pc:chgData name="Olivia Taylor" userId="S::otaylor@nilfisk.com::c79b40f9-21eb-4631-b2ed-a33620a58e56" providerId="AD" clId="Web-{1D28A585-9B84-F0FD-3941-EEAA7F22DF72}" dt="2025-12-19T10:11:27.062" v="202" actId="20577"/>
        <pc:sldMkLst>
          <pc:docMk/>
          <pc:sldMk cId="3177612650" sldId="951"/>
        </pc:sldMkLst>
        <pc:spChg chg="mod">
          <ac:chgData name="Olivia Taylor" userId="S::otaylor@nilfisk.com::c79b40f9-21eb-4631-b2ed-a33620a58e56" providerId="AD" clId="Web-{1D28A585-9B84-F0FD-3941-EEAA7F22DF72}" dt="2025-12-19T10:11:27.062" v="202" actId="20577"/>
          <ac:spMkLst>
            <pc:docMk/>
            <pc:sldMk cId="3177612650" sldId="951"/>
            <ac:spMk id="4" creationId="{CE3C4B78-7321-871D-5721-A0C6122A52E0}"/>
          </ac:spMkLst>
        </pc:spChg>
      </pc:sldChg>
      <pc:sldChg chg="modSp">
        <pc:chgData name="Olivia Taylor" userId="S::otaylor@nilfisk.com::c79b40f9-21eb-4631-b2ed-a33620a58e56" providerId="AD" clId="Web-{1D28A585-9B84-F0FD-3941-EEAA7F22DF72}" dt="2025-12-19T10:11:31.016" v="203" actId="20577"/>
        <pc:sldMkLst>
          <pc:docMk/>
          <pc:sldMk cId="3203420683" sldId="2147473185"/>
        </pc:sldMkLst>
        <pc:spChg chg="mod">
          <ac:chgData name="Olivia Taylor" userId="S::otaylor@nilfisk.com::c79b40f9-21eb-4631-b2ed-a33620a58e56" providerId="AD" clId="Web-{1D28A585-9B84-F0FD-3941-EEAA7F22DF72}" dt="2025-12-19T10:11:31.016" v="203" actId="20577"/>
          <ac:spMkLst>
            <pc:docMk/>
            <pc:sldMk cId="3203420683" sldId="2147473185"/>
            <ac:spMk id="18" creationId="{416633A5-6408-E355-2A34-0B5CC43A407D}"/>
          </ac:spMkLst>
        </pc:spChg>
      </pc:sldChg>
      <pc:sldChg chg="del">
        <pc:chgData name="Olivia Taylor" userId="S::otaylor@nilfisk.com::c79b40f9-21eb-4631-b2ed-a33620a58e56" providerId="AD" clId="Web-{1D28A585-9B84-F0FD-3941-EEAA7F22DF72}" dt="2025-12-19T10:06:37.821" v="116"/>
        <pc:sldMkLst>
          <pc:docMk/>
          <pc:sldMk cId="2716853326" sldId="2147473239"/>
        </pc:sldMkLst>
      </pc:sldChg>
      <pc:sldChg chg="del">
        <pc:chgData name="Olivia Taylor" userId="S::otaylor@nilfisk.com::c79b40f9-21eb-4631-b2ed-a33620a58e56" providerId="AD" clId="Web-{1D28A585-9B84-F0FD-3941-EEAA7F22DF72}" dt="2025-12-19T10:02:56.906" v="32"/>
        <pc:sldMkLst>
          <pc:docMk/>
          <pc:sldMk cId="121376873" sldId="2147473653"/>
        </pc:sldMkLst>
      </pc:sldChg>
      <pc:sldChg chg="del">
        <pc:chgData name="Olivia Taylor" userId="S::otaylor@nilfisk.com::c79b40f9-21eb-4631-b2ed-a33620a58e56" providerId="AD" clId="Web-{1D28A585-9B84-F0FD-3941-EEAA7F22DF72}" dt="2025-12-19T10:02:20.499" v="20"/>
        <pc:sldMkLst>
          <pc:docMk/>
          <pc:sldMk cId="1020351519" sldId="2147473784"/>
        </pc:sldMkLst>
      </pc:sldChg>
      <pc:sldChg chg="modSp">
        <pc:chgData name="Olivia Taylor" userId="S::otaylor@nilfisk.com::c79b40f9-21eb-4631-b2ed-a33620a58e56" providerId="AD" clId="Web-{1D28A585-9B84-F0FD-3941-EEAA7F22DF72}" dt="2025-12-19T10:11:07.751" v="197" actId="20577"/>
        <pc:sldMkLst>
          <pc:docMk/>
          <pc:sldMk cId="1749978083" sldId="2147473785"/>
        </pc:sldMkLst>
        <pc:spChg chg="mod">
          <ac:chgData name="Olivia Taylor" userId="S::otaylor@nilfisk.com::c79b40f9-21eb-4631-b2ed-a33620a58e56" providerId="AD" clId="Web-{1D28A585-9B84-F0FD-3941-EEAA7F22DF72}" dt="2025-12-19T10:11:07.751" v="197" actId="20577"/>
          <ac:spMkLst>
            <pc:docMk/>
            <pc:sldMk cId="1749978083" sldId="2147473785"/>
            <ac:spMk id="7" creationId="{C4A0A575-CE3F-4485-91FC-04A222E423BE}"/>
          </ac:spMkLst>
        </pc:spChg>
      </pc:sldChg>
      <pc:sldChg chg="del">
        <pc:chgData name="Olivia Taylor" userId="S::otaylor@nilfisk.com::c79b40f9-21eb-4631-b2ed-a33620a58e56" providerId="AD" clId="Web-{1D28A585-9B84-F0FD-3941-EEAA7F22DF72}" dt="2025-12-19T10:06:34.493" v="114"/>
        <pc:sldMkLst>
          <pc:docMk/>
          <pc:sldMk cId="2393957709" sldId="2147474124"/>
        </pc:sldMkLst>
      </pc:sldChg>
      <pc:sldChg chg="addSp delSp modSp">
        <pc:chgData name="Olivia Taylor" userId="S::otaylor@nilfisk.com::c79b40f9-21eb-4631-b2ed-a33620a58e56" providerId="AD" clId="Web-{1D28A585-9B84-F0FD-3941-EEAA7F22DF72}" dt="2025-12-19T10:07:40.886" v="128"/>
        <pc:sldMkLst>
          <pc:docMk/>
          <pc:sldMk cId="184461941" sldId="2147482901"/>
        </pc:sldMkLst>
        <pc:spChg chg="add del mod">
          <ac:chgData name="Olivia Taylor" userId="S::otaylor@nilfisk.com::c79b40f9-21eb-4631-b2ed-a33620a58e56" providerId="AD" clId="Web-{1D28A585-9B84-F0FD-3941-EEAA7F22DF72}" dt="2025-12-19T10:07:37.058" v="126"/>
          <ac:spMkLst>
            <pc:docMk/>
            <pc:sldMk cId="184461941" sldId="2147482901"/>
            <ac:spMk id="4" creationId="{10A40875-7692-A2E7-8754-7A0224B370EC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07:39.026" v="127"/>
          <ac:spMkLst>
            <pc:docMk/>
            <pc:sldMk cId="184461941" sldId="2147482901"/>
            <ac:spMk id="6" creationId="{0E41806F-441C-5CD9-2D7A-6DF9F09D52F0}"/>
          </ac:spMkLst>
        </pc:spChg>
        <pc:spChg chg="mod">
          <ac:chgData name="Olivia Taylor" userId="S::otaylor@nilfisk.com::c79b40f9-21eb-4631-b2ed-a33620a58e56" providerId="AD" clId="Web-{1D28A585-9B84-F0FD-3941-EEAA7F22DF72}" dt="2025-12-19T10:02:13.903" v="19" actId="20577"/>
          <ac:spMkLst>
            <pc:docMk/>
            <pc:sldMk cId="184461941" sldId="2147482901"/>
            <ac:spMk id="34" creationId="{E2D3E4B3-1331-58A8-0AAF-0238313BD7F9}"/>
          </ac:spMkLst>
        </pc:spChg>
        <pc:spChg chg="del mod">
          <ac:chgData name="Olivia Taylor" userId="S::otaylor@nilfisk.com::c79b40f9-21eb-4631-b2ed-a33620a58e56" providerId="AD" clId="Web-{1D28A585-9B84-F0FD-3941-EEAA7F22DF72}" dt="2025-12-19T10:02:38.311" v="27"/>
          <ac:spMkLst>
            <pc:docMk/>
            <pc:sldMk cId="184461941" sldId="2147482901"/>
            <ac:spMk id="35" creationId="{A9B109C9-CBC6-47B7-064F-5F9B18C53805}"/>
          </ac:spMkLst>
        </pc:spChg>
        <pc:spChg chg="mod">
          <ac:chgData name="Olivia Taylor" userId="S::otaylor@nilfisk.com::c79b40f9-21eb-4631-b2ed-a33620a58e56" providerId="AD" clId="Web-{1D28A585-9B84-F0FD-3941-EEAA7F22DF72}" dt="2025-12-19T10:07:25.338" v="121" actId="1076"/>
          <ac:spMkLst>
            <pc:docMk/>
            <pc:sldMk cId="184461941" sldId="2147482901"/>
            <ac:spMk id="36" creationId="{963E1DD2-FEBA-FF56-5DC4-A9C57C152DFB}"/>
          </ac:spMkLst>
        </pc:spChg>
        <pc:spChg chg="mod">
          <ac:chgData name="Olivia Taylor" userId="S::otaylor@nilfisk.com::c79b40f9-21eb-4631-b2ed-a33620a58e56" providerId="AD" clId="Web-{1D28A585-9B84-F0FD-3941-EEAA7F22DF72}" dt="2025-12-19T10:07:27.401" v="122" actId="1076"/>
          <ac:spMkLst>
            <pc:docMk/>
            <pc:sldMk cId="184461941" sldId="2147482901"/>
            <ac:spMk id="37" creationId="{1F7A799E-8580-D4E4-B60C-790DDCC4822F}"/>
          </ac:spMkLst>
        </pc:spChg>
        <pc:spChg chg="del mod">
          <ac:chgData name="Olivia Taylor" userId="S::otaylor@nilfisk.com::c79b40f9-21eb-4631-b2ed-a33620a58e56" providerId="AD" clId="Web-{1D28A585-9B84-F0FD-3941-EEAA7F22DF72}" dt="2025-12-19T10:07:40.886" v="128"/>
          <ac:spMkLst>
            <pc:docMk/>
            <pc:sldMk cId="184461941" sldId="2147482901"/>
            <ac:spMk id="38" creationId="{34D549EB-76CF-7DD6-399B-21959B5E679E}"/>
          </ac:spMkLst>
        </pc:spChg>
        <pc:spChg chg="mod">
          <ac:chgData name="Olivia Taylor" userId="S::otaylor@nilfisk.com::c79b40f9-21eb-4631-b2ed-a33620a58e56" providerId="AD" clId="Web-{1D28A585-9B84-F0FD-3941-EEAA7F22DF72}" dt="2025-12-19T10:07:32.792" v="123" actId="1076"/>
          <ac:spMkLst>
            <pc:docMk/>
            <pc:sldMk cId="184461941" sldId="2147482901"/>
            <ac:spMk id="39" creationId="{AF07C625-CD1F-45D9-8898-3B1E1315065E}"/>
          </ac:spMkLst>
        </pc:spChg>
        <pc:spChg chg="del">
          <ac:chgData name="Olivia Taylor" userId="S::otaylor@nilfisk.com::c79b40f9-21eb-4631-b2ed-a33620a58e56" providerId="AD" clId="Web-{1D28A585-9B84-F0FD-3941-EEAA7F22DF72}" dt="2025-12-19T10:07:36.198" v="125"/>
          <ac:spMkLst>
            <pc:docMk/>
            <pc:sldMk cId="184461941" sldId="2147482901"/>
            <ac:spMk id="44" creationId="{A820771D-FA86-ABAE-D6FB-AE44BC4D8DD6}"/>
          </ac:spMkLst>
        </pc:spChg>
        <pc:spChg chg="del">
          <ac:chgData name="Olivia Taylor" userId="S::otaylor@nilfisk.com::c79b40f9-21eb-4631-b2ed-a33620a58e56" providerId="AD" clId="Web-{1D28A585-9B84-F0FD-3941-EEAA7F22DF72}" dt="2025-12-19T10:07:35.151" v="124"/>
          <ac:spMkLst>
            <pc:docMk/>
            <pc:sldMk cId="184461941" sldId="2147482901"/>
            <ac:spMk id="45" creationId="{31C71C88-FF9E-827A-3DC7-BEA940B0F927}"/>
          </ac:spMkLst>
        </pc:spChg>
      </pc:sldChg>
      <pc:sldChg chg="del">
        <pc:chgData name="Olivia Taylor" userId="S::otaylor@nilfisk.com::c79b40f9-21eb-4631-b2ed-a33620a58e56" providerId="AD" clId="Web-{1D28A585-9B84-F0FD-3941-EEAA7F22DF72}" dt="2025-12-19T10:06:55.119" v="118"/>
        <pc:sldMkLst>
          <pc:docMk/>
          <pc:sldMk cId="1102948027" sldId="2147482928"/>
        </pc:sldMkLst>
      </pc:sldChg>
      <pc:sldChg chg="del">
        <pc:chgData name="Olivia Taylor" userId="S::otaylor@nilfisk.com::c79b40f9-21eb-4631-b2ed-a33620a58e56" providerId="AD" clId="Web-{1D28A585-9B84-F0FD-3941-EEAA7F22DF72}" dt="2025-12-19T10:02:58.140" v="33"/>
        <pc:sldMkLst>
          <pc:docMk/>
          <pc:sldMk cId="2188712108" sldId="2147482952"/>
        </pc:sldMkLst>
      </pc:sldChg>
      <pc:sldChg chg="modSp">
        <pc:chgData name="Olivia Taylor" userId="S::otaylor@nilfisk.com::c79b40f9-21eb-4631-b2ed-a33620a58e56" providerId="AD" clId="Web-{1D28A585-9B84-F0FD-3941-EEAA7F22DF72}" dt="2025-12-19T10:10:20.030" v="183" actId="20577"/>
        <pc:sldMkLst>
          <pc:docMk/>
          <pc:sldMk cId="1189349226" sldId="2147482955"/>
        </pc:sldMkLst>
        <pc:spChg chg="mod">
          <ac:chgData name="Olivia Taylor" userId="S::otaylor@nilfisk.com::c79b40f9-21eb-4631-b2ed-a33620a58e56" providerId="AD" clId="Web-{1D28A585-9B84-F0FD-3941-EEAA7F22DF72}" dt="2025-12-19T10:10:20.030" v="183" actId="20577"/>
          <ac:spMkLst>
            <pc:docMk/>
            <pc:sldMk cId="1189349226" sldId="2147482955"/>
            <ac:spMk id="8" creationId="{5ADC7FDD-8A74-4DEC-86DE-5FCF4AFC1452}"/>
          </ac:spMkLst>
        </pc:spChg>
      </pc:sldChg>
      <pc:sldChg chg="modSp">
        <pc:chgData name="Olivia Taylor" userId="S::otaylor@nilfisk.com::c79b40f9-21eb-4631-b2ed-a33620a58e56" providerId="AD" clId="Web-{1D28A585-9B84-F0FD-3941-EEAA7F22DF72}" dt="2025-12-19T10:10:52.640" v="192" actId="20577"/>
        <pc:sldMkLst>
          <pc:docMk/>
          <pc:sldMk cId="1285200800" sldId="2147482974"/>
        </pc:sldMkLst>
        <pc:spChg chg="mod">
          <ac:chgData name="Olivia Taylor" userId="S::otaylor@nilfisk.com::c79b40f9-21eb-4631-b2ed-a33620a58e56" providerId="AD" clId="Web-{1D28A585-9B84-F0FD-3941-EEAA7F22DF72}" dt="2025-12-19T10:10:52.640" v="192" actId="20577"/>
          <ac:spMkLst>
            <pc:docMk/>
            <pc:sldMk cId="1285200800" sldId="2147482974"/>
            <ac:spMk id="7" creationId="{37F4393F-3757-7BB2-1DDA-4701BC5DE85B}"/>
          </ac:spMkLst>
        </pc:spChg>
      </pc:sldChg>
      <pc:sldChg chg="modSp">
        <pc:chgData name="Olivia Taylor" userId="S::otaylor@nilfisk.com::c79b40f9-21eb-4631-b2ed-a33620a58e56" providerId="AD" clId="Web-{1D28A585-9B84-F0FD-3941-EEAA7F22DF72}" dt="2025-12-19T10:10:55.374" v="193" actId="20577"/>
        <pc:sldMkLst>
          <pc:docMk/>
          <pc:sldMk cId="1672613796" sldId="2147482975"/>
        </pc:sldMkLst>
        <pc:spChg chg="mod">
          <ac:chgData name="Olivia Taylor" userId="S::otaylor@nilfisk.com::c79b40f9-21eb-4631-b2ed-a33620a58e56" providerId="AD" clId="Web-{1D28A585-9B84-F0FD-3941-EEAA7F22DF72}" dt="2025-12-19T10:10:55.374" v="193" actId="20577"/>
          <ac:spMkLst>
            <pc:docMk/>
            <pc:sldMk cId="1672613796" sldId="2147482975"/>
            <ac:spMk id="8" creationId="{92DD5482-BCFF-8610-CBDA-B28D6EC0A635}"/>
          </ac:spMkLst>
        </pc:spChg>
      </pc:sldChg>
      <pc:sldChg chg="add del">
        <pc:chgData name="Olivia Taylor" userId="S::otaylor@nilfisk.com::c79b40f9-21eb-4631-b2ed-a33620a58e56" providerId="AD" clId="Web-{1D28A585-9B84-F0FD-3941-EEAA7F22DF72}" dt="2025-12-19T10:02:06.231" v="11"/>
        <pc:sldMkLst>
          <pc:docMk/>
          <pc:sldMk cId="1510066910" sldId="2147482977"/>
        </pc:sldMkLst>
      </pc:sldChg>
      <pc:sldChg chg="modSp del">
        <pc:chgData name="Olivia Taylor" userId="S::otaylor@nilfisk.com::c79b40f9-21eb-4631-b2ed-a33620a58e56" providerId="AD" clId="Web-{1D28A585-9B84-F0FD-3941-EEAA7F22DF72}" dt="2025-12-19T10:13:15.814" v="210"/>
        <pc:sldMkLst>
          <pc:docMk/>
          <pc:sldMk cId="984789493" sldId="2147482983"/>
        </pc:sldMkLst>
        <pc:spChg chg="mod">
          <ac:chgData name="Olivia Taylor" userId="S::otaylor@nilfisk.com::c79b40f9-21eb-4631-b2ed-a33620a58e56" providerId="AD" clId="Web-{1D28A585-9B84-F0FD-3941-EEAA7F22DF72}" dt="2025-12-19T10:10:04.702" v="179" actId="20577"/>
          <ac:spMkLst>
            <pc:docMk/>
            <pc:sldMk cId="984789493" sldId="2147482983"/>
            <ac:spMk id="7" creationId="{A57E0E44-CF33-E4F4-2467-7C38D9813536}"/>
          </ac:spMkLst>
        </pc:spChg>
      </pc:sldChg>
      <pc:sldChg chg="modSp">
        <pc:chgData name="Olivia Taylor" userId="S::otaylor@nilfisk.com::c79b40f9-21eb-4631-b2ed-a33620a58e56" providerId="AD" clId="Web-{1D28A585-9B84-F0FD-3941-EEAA7F22DF72}" dt="2025-12-19T10:10:58.859" v="194" actId="20577"/>
        <pc:sldMkLst>
          <pc:docMk/>
          <pc:sldMk cId="345546522" sldId="2147482986"/>
        </pc:sldMkLst>
        <pc:spChg chg="mod">
          <ac:chgData name="Olivia Taylor" userId="S::otaylor@nilfisk.com::c79b40f9-21eb-4631-b2ed-a33620a58e56" providerId="AD" clId="Web-{1D28A585-9B84-F0FD-3941-EEAA7F22DF72}" dt="2025-12-19T10:10:58.859" v="194" actId="20577"/>
          <ac:spMkLst>
            <pc:docMk/>
            <pc:sldMk cId="345546522" sldId="2147482986"/>
            <ac:spMk id="7" creationId="{EF391CC3-F4F2-B2DD-735B-DDB67F33755A}"/>
          </ac:spMkLst>
        </pc:spChg>
      </pc:sldChg>
      <pc:sldChg chg="modSp">
        <pc:chgData name="Olivia Taylor" userId="S::otaylor@nilfisk.com::c79b40f9-21eb-4631-b2ed-a33620a58e56" providerId="AD" clId="Web-{1D28A585-9B84-F0FD-3941-EEAA7F22DF72}" dt="2025-12-19T10:11:01.906" v="195" actId="20577"/>
        <pc:sldMkLst>
          <pc:docMk/>
          <pc:sldMk cId="2046532991" sldId="2147482987"/>
        </pc:sldMkLst>
        <pc:spChg chg="mod">
          <ac:chgData name="Olivia Taylor" userId="S::otaylor@nilfisk.com::c79b40f9-21eb-4631-b2ed-a33620a58e56" providerId="AD" clId="Web-{1D28A585-9B84-F0FD-3941-EEAA7F22DF72}" dt="2025-12-19T10:11:01.906" v="195" actId="20577"/>
          <ac:spMkLst>
            <pc:docMk/>
            <pc:sldMk cId="2046532991" sldId="2147482987"/>
            <ac:spMk id="7" creationId="{CA31C39B-3856-E33A-6B29-587B4507FCA3}"/>
          </ac:spMkLst>
        </pc:spChg>
      </pc:sldChg>
      <pc:sldChg chg="modSp">
        <pc:chgData name="Olivia Taylor" userId="S::otaylor@nilfisk.com::c79b40f9-21eb-4631-b2ed-a33620a58e56" providerId="AD" clId="Web-{1D28A585-9B84-F0FD-3941-EEAA7F22DF72}" dt="2025-12-19T10:11:04.484" v="196" actId="20577"/>
        <pc:sldMkLst>
          <pc:docMk/>
          <pc:sldMk cId="2754424226" sldId="2147482988"/>
        </pc:sldMkLst>
        <pc:spChg chg="mod">
          <ac:chgData name="Olivia Taylor" userId="S::otaylor@nilfisk.com::c79b40f9-21eb-4631-b2ed-a33620a58e56" providerId="AD" clId="Web-{1D28A585-9B84-F0FD-3941-EEAA7F22DF72}" dt="2025-12-19T10:11:04.484" v="196" actId="20577"/>
          <ac:spMkLst>
            <pc:docMk/>
            <pc:sldMk cId="2754424226" sldId="2147482988"/>
            <ac:spMk id="7" creationId="{137E11AD-F3F8-E4D0-C8F2-195B36221796}"/>
          </ac:spMkLst>
        </pc:spChg>
      </pc:sldChg>
      <pc:sldChg chg="modSp add del">
        <pc:chgData name="Olivia Taylor" userId="S::otaylor@nilfisk.com::c79b40f9-21eb-4631-b2ed-a33620a58e56" providerId="AD" clId="Web-{1D28A585-9B84-F0FD-3941-EEAA7F22DF72}" dt="2025-12-19T10:12:34.173" v="209"/>
        <pc:sldMkLst>
          <pc:docMk/>
          <pc:sldMk cId="3727346441" sldId="2147483070"/>
        </pc:sldMkLst>
        <pc:spChg chg="mod">
          <ac:chgData name="Olivia Taylor" userId="S::otaylor@nilfisk.com::c79b40f9-21eb-4631-b2ed-a33620a58e56" providerId="AD" clId="Web-{1D28A585-9B84-F0FD-3941-EEAA7F22DF72}" dt="2025-12-19T10:10:08.295" v="180" actId="20577"/>
          <ac:spMkLst>
            <pc:docMk/>
            <pc:sldMk cId="3727346441" sldId="2147483070"/>
            <ac:spMk id="18" creationId="{416633A5-6408-E355-2A34-0B5CC43A407D}"/>
          </ac:spMkLst>
        </pc:spChg>
      </pc:sldChg>
      <pc:sldChg chg="modSp">
        <pc:chgData name="Olivia Taylor" userId="S::otaylor@nilfisk.com::c79b40f9-21eb-4631-b2ed-a33620a58e56" providerId="AD" clId="Web-{1D28A585-9B84-F0FD-3941-EEAA7F22DF72}" dt="2025-12-19T10:11:37.735" v="205" actId="20577"/>
        <pc:sldMkLst>
          <pc:docMk/>
          <pc:sldMk cId="1672956563" sldId="2147483072"/>
        </pc:sldMkLst>
        <pc:spChg chg="mod">
          <ac:chgData name="Olivia Taylor" userId="S::otaylor@nilfisk.com::c79b40f9-21eb-4631-b2ed-a33620a58e56" providerId="AD" clId="Web-{1D28A585-9B84-F0FD-3941-EEAA7F22DF72}" dt="2025-12-19T10:11:37.735" v="205" actId="20577"/>
          <ac:spMkLst>
            <pc:docMk/>
            <pc:sldMk cId="1672956563" sldId="2147483072"/>
            <ac:spMk id="4" creationId="{6CFA7AD1-EE6C-1218-7CE5-69910A5C2E1E}"/>
          </ac:spMkLst>
        </pc:spChg>
      </pc:sldChg>
      <pc:sldChg chg="modSp">
        <pc:chgData name="Olivia Taylor" userId="S::otaylor@nilfisk.com::c79b40f9-21eb-4631-b2ed-a33620a58e56" providerId="AD" clId="Web-{1D28A585-9B84-F0FD-3941-EEAA7F22DF72}" dt="2025-12-19T10:10:10.311" v="181" actId="20577"/>
        <pc:sldMkLst>
          <pc:docMk/>
          <pc:sldMk cId="2944035456" sldId="2147483073"/>
        </pc:sldMkLst>
        <pc:spChg chg="mod">
          <ac:chgData name="Olivia Taylor" userId="S::otaylor@nilfisk.com::c79b40f9-21eb-4631-b2ed-a33620a58e56" providerId="AD" clId="Web-{1D28A585-9B84-F0FD-3941-EEAA7F22DF72}" dt="2025-12-19T10:10:10.311" v="181" actId="20577"/>
          <ac:spMkLst>
            <pc:docMk/>
            <pc:sldMk cId="2944035456" sldId="2147483073"/>
            <ac:spMk id="7" creationId="{48DC875C-9896-AED1-A442-192D14E3FCE8}"/>
          </ac:spMkLst>
        </pc:spChg>
        <pc:graphicFrameChg chg="mod modGraphic">
          <ac:chgData name="Olivia Taylor" userId="S::otaylor@nilfisk.com::c79b40f9-21eb-4631-b2ed-a33620a58e56" providerId="AD" clId="Web-{1D28A585-9B84-F0FD-3941-EEAA7F22DF72}" dt="2025-12-19T10:04:12.191" v="110"/>
          <ac:graphicFrameMkLst>
            <pc:docMk/>
            <pc:sldMk cId="2944035456" sldId="2147483073"/>
            <ac:graphicFrameMk id="14" creationId="{90BCE8C4-1908-4F13-CDDF-73660AE64F67}"/>
          </ac:graphicFrameMkLst>
        </pc:graphicFrameChg>
      </pc:sldChg>
      <pc:sldChg chg="modSp">
        <pc:chgData name="Olivia Taylor" userId="S::otaylor@nilfisk.com::c79b40f9-21eb-4631-b2ed-a33620a58e56" providerId="AD" clId="Web-{1D28A585-9B84-F0FD-3941-EEAA7F22DF72}" dt="2025-12-19T10:10:13.483" v="182" actId="20577"/>
        <pc:sldMkLst>
          <pc:docMk/>
          <pc:sldMk cId="1080622399" sldId="2147483074"/>
        </pc:sldMkLst>
        <pc:spChg chg="mod">
          <ac:chgData name="Olivia Taylor" userId="S::otaylor@nilfisk.com::c79b40f9-21eb-4631-b2ed-a33620a58e56" providerId="AD" clId="Web-{1D28A585-9B84-F0FD-3941-EEAA7F22DF72}" dt="2025-12-19T10:10:13.483" v="182" actId="20577"/>
          <ac:spMkLst>
            <pc:docMk/>
            <pc:sldMk cId="1080622399" sldId="2147483074"/>
            <ac:spMk id="7" creationId="{E4D26BA6-E6EB-5C3A-8CD8-702971FBB87F}"/>
          </ac:spMkLst>
        </pc:spChg>
        <pc:graphicFrameChg chg="modGraphic">
          <ac:chgData name="Olivia Taylor" userId="S::otaylor@nilfisk.com::c79b40f9-21eb-4631-b2ed-a33620a58e56" providerId="AD" clId="Web-{1D28A585-9B84-F0FD-3941-EEAA7F22DF72}" dt="2025-12-19T10:04:39.098" v="113"/>
          <ac:graphicFrameMkLst>
            <pc:docMk/>
            <pc:sldMk cId="1080622399" sldId="2147483074"/>
            <ac:graphicFrameMk id="4" creationId="{BBB01EF8-9666-32CB-0DD3-902E60522E75}"/>
          </ac:graphicFrameMkLst>
        </pc:graphicFrameChg>
      </pc:sldChg>
      <pc:sldChg chg="del">
        <pc:chgData name="Olivia Taylor" userId="S::otaylor@nilfisk.com::c79b40f9-21eb-4631-b2ed-a33620a58e56" providerId="AD" clId="Web-{1D28A585-9B84-F0FD-3941-EEAA7F22DF72}" dt="2025-12-19T10:06:36.571" v="115"/>
        <pc:sldMkLst>
          <pc:docMk/>
          <pc:sldMk cId="2286618326" sldId="2147483075"/>
        </pc:sldMkLst>
      </pc:sldChg>
      <pc:sldChg chg="del">
        <pc:chgData name="Olivia Taylor" userId="S::otaylor@nilfisk.com::c79b40f9-21eb-4631-b2ed-a33620a58e56" providerId="AD" clId="Web-{1D28A585-9B84-F0FD-3941-EEAA7F22DF72}" dt="2025-12-19T10:06:38.478" v="117"/>
        <pc:sldMkLst>
          <pc:docMk/>
          <pc:sldMk cId="2521426345" sldId="2147483076"/>
        </pc:sldMkLst>
      </pc:sldChg>
      <pc:sldChg chg="modSp">
        <pc:chgData name="Olivia Taylor" userId="S::otaylor@nilfisk.com::c79b40f9-21eb-4631-b2ed-a33620a58e56" providerId="AD" clId="Web-{1D28A585-9B84-F0FD-3941-EEAA7F22DF72}" dt="2025-12-19T10:11:33.813" v="204" actId="20577"/>
        <pc:sldMkLst>
          <pc:docMk/>
          <pc:sldMk cId="827001692" sldId="2147483078"/>
        </pc:sldMkLst>
        <pc:spChg chg="mod">
          <ac:chgData name="Olivia Taylor" userId="S::otaylor@nilfisk.com::c79b40f9-21eb-4631-b2ed-a33620a58e56" providerId="AD" clId="Web-{1D28A585-9B84-F0FD-3941-EEAA7F22DF72}" dt="2025-12-19T10:11:33.813" v="204" actId="20577"/>
          <ac:spMkLst>
            <pc:docMk/>
            <pc:sldMk cId="827001692" sldId="2147483078"/>
            <ac:spMk id="18" creationId="{DC27E3BF-DF8B-A291-BB4E-E2DDF08922B8}"/>
          </ac:spMkLst>
        </pc:spChg>
      </pc:sldChg>
      <pc:sldChg chg="addSp delSp modSp">
        <pc:chgData name="Olivia Taylor" userId="S::otaylor@nilfisk.com::c79b40f9-21eb-4631-b2ed-a33620a58e56" providerId="AD" clId="Web-{1D28A585-9B84-F0FD-3941-EEAA7F22DF72}" dt="2025-12-19T10:14:46.441" v="234" actId="20577"/>
        <pc:sldMkLst>
          <pc:docMk/>
          <pc:sldMk cId="1051334371" sldId="2147483350"/>
        </pc:sldMkLst>
        <pc:spChg chg="add del mod">
          <ac:chgData name="Olivia Taylor" userId="S::otaylor@nilfisk.com::c79b40f9-21eb-4631-b2ed-a33620a58e56" providerId="AD" clId="Web-{1D28A585-9B84-F0FD-3941-EEAA7F22DF72}" dt="2025-12-19T10:14:26.518" v="225"/>
          <ac:spMkLst>
            <pc:docMk/>
            <pc:sldMk cId="1051334371" sldId="2147483350"/>
            <ac:spMk id="4" creationId="{F8BAD324-B1EE-0C2C-76C6-4A203380EDC8}"/>
          </ac:spMkLst>
        </pc:spChg>
        <pc:spChg chg="mod">
          <ac:chgData name="Olivia Taylor" userId="S::otaylor@nilfisk.com::c79b40f9-21eb-4631-b2ed-a33620a58e56" providerId="AD" clId="Web-{1D28A585-9B84-F0FD-3941-EEAA7F22DF72}" dt="2025-12-19T10:14:46.441" v="234" actId="20577"/>
          <ac:spMkLst>
            <pc:docMk/>
            <pc:sldMk cId="1051334371" sldId="2147483350"/>
            <ac:spMk id="7" creationId="{D9253751-C38E-6CE4-9B6D-F6B8A630B5A1}"/>
          </ac:spMkLst>
        </pc:spChg>
        <pc:spChg chg="del">
          <ac:chgData name="Olivia Taylor" userId="S::otaylor@nilfisk.com::c79b40f9-21eb-4631-b2ed-a33620a58e56" providerId="AD" clId="Web-{1D28A585-9B84-F0FD-3941-EEAA7F22DF72}" dt="2025-12-19T10:14:19.784" v="216"/>
          <ac:spMkLst>
            <pc:docMk/>
            <pc:sldMk cId="1051334371" sldId="2147483350"/>
            <ac:spMk id="8" creationId="{EDA3F27B-4D37-06A2-F0AB-0F9E608B6378}"/>
          </ac:spMkLst>
        </pc:spChg>
        <pc:spChg chg="del">
          <ac:chgData name="Olivia Taylor" userId="S::otaylor@nilfisk.com::c79b40f9-21eb-4631-b2ed-a33620a58e56" providerId="AD" clId="Web-{1D28A585-9B84-F0FD-3941-EEAA7F22DF72}" dt="2025-12-19T10:14:19.940" v="217"/>
          <ac:spMkLst>
            <pc:docMk/>
            <pc:sldMk cId="1051334371" sldId="2147483350"/>
            <ac:spMk id="10" creationId="{4B3C5703-F2FF-C8A5-330D-7D9FFEF2D0D1}"/>
          </ac:spMkLst>
        </pc:spChg>
        <pc:spChg chg="del">
          <ac:chgData name="Olivia Taylor" userId="S::otaylor@nilfisk.com::c79b40f9-21eb-4631-b2ed-a33620a58e56" providerId="AD" clId="Web-{1D28A585-9B84-F0FD-3941-EEAA7F22DF72}" dt="2025-12-19T10:14:19.565" v="215"/>
          <ac:spMkLst>
            <pc:docMk/>
            <pc:sldMk cId="1051334371" sldId="2147483350"/>
            <ac:spMk id="11" creationId="{B0309514-71C6-1D49-E938-EB7106A4B5DA}"/>
          </ac:spMkLst>
        </pc:spChg>
        <pc:spChg chg="del">
          <ac:chgData name="Olivia Taylor" userId="S::otaylor@nilfisk.com::c79b40f9-21eb-4631-b2ed-a33620a58e56" providerId="AD" clId="Web-{1D28A585-9B84-F0FD-3941-EEAA7F22DF72}" dt="2025-12-19T10:14:19.346" v="214"/>
          <ac:spMkLst>
            <pc:docMk/>
            <pc:sldMk cId="1051334371" sldId="2147483350"/>
            <ac:spMk id="12" creationId="{B5960A9E-D9D7-19F5-5724-5ED36C759670}"/>
          </ac:spMkLst>
        </pc:spChg>
        <pc:spChg chg="del">
          <ac:chgData name="Olivia Taylor" userId="S::otaylor@nilfisk.com::c79b40f9-21eb-4631-b2ed-a33620a58e56" providerId="AD" clId="Web-{1D28A585-9B84-F0FD-3941-EEAA7F22DF72}" dt="2025-12-19T10:14:19.143" v="213"/>
          <ac:spMkLst>
            <pc:docMk/>
            <pc:sldMk cId="1051334371" sldId="2147483350"/>
            <ac:spMk id="13" creationId="{802C59E1-483F-9206-8BBF-180155349D55}"/>
          </ac:spMkLst>
        </pc:spChg>
        <pc:spChg chg="del">
          <ac:chgData name="Olivia Taylor" userId="S::otaylor@nilfisk.com::c79b40f9-21eb-4631-b2ed-a33620a58e56" providerId="AD" clId="Web-{1D28A585-9B84-F0FD-3941-EEAA7F22DF72}" dt="2025-12-19T10:14:18.956" v="212"/>
          <ac:spMkLst>
            <pc:docMk/>
            <pc:sldMk cId="1051334371" sldId="2147483350"/>
            <ac:spMk id="14" creationId="{D00B48D4-7EC0-3BC3-51FC-BE0B225973AB}"/>
          </ac:spMkLst>
        </pc:spChg>
        <pc:spChg chg="mod">
          <ac:chgData name="Olivia Taylor" userId="S::otaylor@nilfisk.com::c79b40f9-21eb-4631-b2ed-a33620a58e56" providerId="AD" clId="Web-{1D28A585-9B84-F0FD-3941-EEAA7F22DF72}" dt="2025-12-19T10:14:33.722" v="226" actId="1076"/>
          <ac:spMkLst>
            <pc:docMk/>
            <pc:sldMk cId="1051334371" sldId="2147483350"/>
            <ac:spMk id="15" creationId="{477CA8EE-10A8-D349-BE58-1177478EB6A2}"/>
          </ac:spMkLst>
        </pc:spChg>
        <pc:spChg chg="mod">
          <ac:chgData name="Olivia Taylor" userId="S::otaylor@nilfisk.com::c79b40f9-21eb-4631-b2ed-a33620a58e56" providerId="AD" clId="Web-{1D28A585-9B84-F0FD-3941-EEAA7F22DF72}" dt="2025-12-19T10:14:33.737" v="227" actId="1076"/>
          <ac:spMkLst>
            <pc:docMk/>
            <pc:sldMk cId="1051334371" sldId="2147483350"/>
            <ac:spMk id="16" creationId="{D8F42587-1589-2838-50E6-C5C7CEA789BF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14:26.518" v="224"/>
          <ac:spMkLst>
            <pc:docMk/>
            <pc:sldMk cId="1051334371" sldId="2147483350"/>
            <ac:spMk id="17" creationId="{5E88E945-98DE-516E-89AA-1A82924FC2AE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14:26.518" v="223"/>
          <ac:spMkLst>
            <pc:docMk/>
            <pc:sldMk cId="1051334371" sldId="2147483350"/>
            <ac:spMk id="19" creationId="{DEA44A25-3521-D850-DA8E-C00215CF8E80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14:26.518" v="222"/>
          <ac:spMkLst>
            <pc:docMk/>
            <pc:sldMk cId="1051334371" sldId="2147483350"/>
            <ac:spMk id="21" creationId="{3E97D00A-5052-C245-028C-51DA078D3E6E}"/>
          </ac:spMkLst>
        </pc:spChg>
        <pc:spChg chg="del">
          <ac:chgData name="Olivia Taylor" userId="S::otaylor@nilfisk.com::c79b40f9-21eb-4631-b2ed-a33620a58e56" providerId="AD" clId="Web-{1D28A585-9B84-F0FD-3941-EEAA7F22DF72}" dt="2025-12-19T10:14:18.753" v="211"/>
          <ac:spMkLst>
            <pc:docMk/>
            <pc:sldMk cId="1051334371" sldId="2147483350"/>
            <ac:spMk id="22" creationId="{244EB53B-E7B0-42A5-29F4-EE60DC105E46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14:26.518" v="221"/>
          <ac:spMkLst>
            <pc:docMk/>
            <pc:sldMk cId="1051334371" sldId="2147483350"/>
            <ac:spMk id="24" creationId="{DD0294DC-25B3-4B34-8EF8-5A255036818D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14:26.518" v="220"/>
          <ac:spMkLst>
            <pc:docMk/>
            <pc:sldMk cId="1051334371" sldId="2147483350"/>
            <ac:spMk id="26" creationId="{2A8A73CD-B394-9FE3-8A0A-AEE1DC589D9E}"/>
          </ac:spMkLst>
        </pc:spChg>
      </pc:sldChg>
      <pc:sldChg chg="addSp delSp modSp">
        <pc:chgData name="Olivia Taylor" userId="S::otaylor@nilfisk.com::c79b40f9-21eb-4631-b2ed-a33620a58e56" providerId="AD" clId="Web-{1D28A585-9B84-F0FD-3941-EEAA7F22DF72}" dt="2025-12-19T10:07:57.792" v="137"/>
        <pc:sldMkLst>
          <pc:docMk/>
          <pc:sldMk cId="3805099853" sldId="2147483352"/>
        </pc:sldMkLst>
        <pc:spChg chg="add del mod">
          <ac:chgData name="Olivia Taylor" userId="S::otaylor@nilfisk.com::c79b40f9-21eb-4631-b2ed-a33620a58e56" providerId="AD" clId="Web-{1D28A585-9B84-F0FD-3941-EEAA7F22DF72}" dt="2025-12-19T10:07:57.792" v="137"/>
          <ac:spMkLst>
            <pc:docMk/>
            <pc:sldMk cId="3805099853" sldId="2147483352"/>
            <ac:spMk id="4" creationId="{662447AD-3F48-1741-C144-AA95C0198119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07:57.792" v="136"/>
          <ac:spMkLst>
            <pc:docMk/>
            <pc:sldMk cId="3805099853" sldId="2147483352"/>
            <ac:spMk id="6" creationId="{22D6979B-1A78-BE39-B3D0-78262787D617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07:57.792" v="135"/>
          <ac:spMkLst>
            <pc:docMk/>
            <pc:sldMk cId="3805099853" sldId="2147483352"/>
            <ac:spMk id="9" creationId="{17A0B0BD-4F44-D7A5-0C6C-9810C0A0BE4B}"/>
          </ac:spMkLst>
        </pc:spChg>
        <pc:spChg chg="mod">
          <ac:chgData name="Olivia Taylor" userId="S::otaylor@nilfisk.com::c79b40f9-21eb-4631-b2ed-a33620a58e56" providerId="AD" clId="Web-{1D28A585-9B84-F0FD-3941-EEAA7F22DF72}" dt="2025-12-19T10:02:10.465" v="14" actId="20577"/>
          <ac:spMkLst>
            <pc:docMk/>
            <pc:sldMk cId="3805099853" sldId="2147483352"/>
            <ac:spMk id="34" creationId="{0C482A00-E068-8584-E1D1-589CB9E8976C}"/>
          </ac:spMkLst>
        </pc:spChg>
        <pc:spChg chg="del mod">
          <ac:chgData name="Olivia Taylor" userId="S::otaylor@nilfisk.com::c79b40f9-21eb-4631-b2ed-a33620a58e56" providerId="AD" clId="Web-{1D28A585-9B84-F0FD-3941-EEAA7F22DF72}" dt="2025-12-19T10:02:35.061" v="24"/>
          <ac:spMkLst>
            <pc:docMk/>
            <pc:sldMk cId="3805099853" sldId="2147483352"/>
            <ac:spMk id="35" creationId="{B926CE87-2488-3018-8B85-A6FF341BAF93}"/>
          </ac:spMkLst>
        </pc:spChg>
        <pc:spChg chg="mod">
          <ac:chgData name="Olivia Taylor" userId="S::otaylor@nilfisk.com::c79b40f9-21eb-4631-b2ed-a33620a58e56" providerId="AD" clId="Web-{1D28A585-9B84-F0FD-3941-EEAA7F22DF72}" dt="2025-12-19T10:07:46.792" v="129" actId="1076"/>
          <ac:spMkLst>
            <pc:docMk/>
            <pc:sldMk cId="3805099853" sldId="2147483352"/>
            <ac:spMk id="36" creationId="{C8F2A2EA-CD24-FA1D-D971-0C276BABD709}"/>
          </ac:spMkLst>
        </pc:spChg>
        <pc:spChg chg="mod">
          <ac:chgData name="Olivia Taylor" userId="S::otaylor@nilfisk.com::c79b40f9-21eb-4631-b2ed-a33620a58e56" providerId="AD" clId="Web-{1D28A585-9B84-F0FD-3941-EEAA7F22DF72}" dt="2025-12-19T10:07:50.589" v="130" actId="1076"/>
          <ac:spMkLst>
            <pc:docMk/>
            <pc:sldMk cId="3805099853" sldId="2147483352"/>
            <ac:spMk id="37" creationId="{4CE1D753-B742-8C15-9042-BEDFDC7F5135}"/>
          </ac:spMkLst>
        </pc:spChg>
        <pc:spChg chg="del">
          <ac:chgData name="Olivia Taylor" userId="S::otaylor@nilfisk.com::c79b40f9-21eb-4631-b2ed-a33620a58e56" providerId="AD" clId="Web-{1D28A585-9B84-F0FD-3941-EEAA7F22DF72}" dt="2025-12-19T10:07:55.761" v="134"/>
          <ac:spMkLst>
            <pc:docMk/>
            <pc:sldMk cId="3805099853" sldId="2147483352"/>
            <ac:spMk id="38" creationId="{7F23863C-20B2-AB94-93A9-373D192B838C}"/>
          </ac:spMkLst>
        </pc:spChg>
        <pc:spChg chg="mod">
          <ac:chgData name="Olivia Taylor" userId="S::otaylor@nilfisk.com::c79b40f9-21eb-4631-b2ed-a33620a58e56" providerId="AD" clId="Web-{1D28A585-9B84-F0FD-3941-EEAA7F22DF72}" dt="2025-12-19T10:07:53.699" v="131" actId="1076"/>
          <ac:spMkLst>
            <pc:docMk/>
            <pc:sldMk cId="3805099853" sldId="2147483352"/>
            <ac:spMk id="39" creationId="{3995CF2D-4494-1505-B22C-9FD212E9466F}"/>
          </ac:spMkLst>
        </pc:spChg>
        <pc:spChg chg="del">
          <ac:chgData name="Olivia Taylor" userId="S::otaylor@nilfisk.com::c79b40f9-21eb-4631-b2ed-a33620a58e56" providerId="AD" clId="Web-{1D28A585-9B84-F0FD-3941-EEAA7F22DF72}" dt="2025-12-19T10:07:55.636" v="133"/>
          <ac:spMkLst>
            <pc:docMk/>
            <pc:sldMk cId="3805099853" sldId="2147483352"/>
            <ac:spMk id="44" creationId="{27B7854E-E332-29BF-5DF4-38D7FDE40214}"/>
          </ac:spMkLst>
        </pc:spChg>
        <pc:spChg chg="del">
          <ac:chgData name="Olivia Taylor" userId="S::otaylor@nilfisk.com::c79b40f9-21eb-4631-b2ed-a33620a58e56" providerId="AD" clId="Web-{1D28A585-9B84-F0FD-3941-EEAA7F22DF72}" dt="2025-12-19T10:07:55.511" v="132"/>
          <ac:spMkLst>
            <pc:docMk/>
            <pc:sldMk cId="3805099853" sldId="2147483352"/>
            <ac:spMk id="45" creationId="{3D44663C-E03A-F83E-D31B-4ACC82CD1391}"/>
          </ac:spMkLst>
        </pc:spChg>
      </pc:sldChg>
      <pc:sldChg chg="delSp modSp del">
        <pc:chgData name="Olivia Taylor" userId="S::otaylor@nilfisk.com::c79b40f9-21eb-4631-b2ed-a33620a58e56" providerId="AD" clId="Web-{1D28A585-9B84-F0FD-3941-EEAA7F22DF72}" dt="2025-12-19T10:02:41.186" v="28"/>
        <pc:sldMkLst>
          <pc:docMk/>
          <pc:sldMk cId="280613545" sldId="2147483354"/>
        </pc:sldMkLst>
        <pc:spChg chg="del mod">
          <ac:chgData name="Olivia Taylor" userId="S::otaylor@nilfisk.com::c79b40f9-21eb-4631-b2ed-a33620a58e56" providerId="AD" clId="Web-{1D28A585-9B84-F0FD-3941-EEAA7F22DF72}" dt="2025-12-19T10:02:26.138" v="22"/>
          <ac:spMkLst>
            <pc:docMk/>
            <pc:sldMk cId="280613545" sldId="2147483354"/>
            <ac:spMk id="35" creationId="{68705020-25AF-103F-BF0D-7A47ED1058DC}"/>
          </ac:spMkLst>
        </pc:spChg>
      </pc:sldChg>
      <pc:sldChg chg="addSp delSp modSp">
        <pc:chgData name="Olivia Taylor" userId="S::otaylor@nilfisk.com::c79b40f9-21eb-4631-b2ed-a33620a58e56" providerId="AD" clId="Web-{1D28A585-9B84-F0FD-3941-EEAA7F22DF72}" dt="2025-12-19T10:09:59.483" v="177" actId="20577"/>
        <pc:sldMkLst>
          <pc:docMk/>
          <pc:sldMk cId="3587220876" sldId="2147483355"/>
        </pc:sldMkLst>
        <pc:spChg chg="add del mod">
          <ac:chgData name="Olivia Taylor" userId="S::otaylor@nilfisk.com::c79b40f9-21eb-4631-b2ed-a33620a58e56" providerId="AD" clId="Web-{1D28A585-9B84-F0FD-3941-EEAA7F22DF72}" dt="2025-12-19T10:08:19.215" v="147"/>
          <ac:spMkLst>
            <pc:docMk/>
            <pc:sldMk cId="3587220876" sldId="2147483355"/>
            <ac:spMk id="5" creationId="{14474E83-3EED-3BA6-30AB-E6280E9AA9C2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08:19.215" v="146"/>
          <ac:spMkLst>
            <pc:docMk/>
            <pc:sldMk cId="3587220876" sldId="2147483355"/>
            <ac:spMk id="7" creationId="{97E0E27F-6282-39FB-3A94-2D24C4F4ED10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08:19.215" v="145"/>
          <ac:spMkLst>
            <pc:docMk/>
            <pc:sldMk cId="3587220876" sldId="2147483355"/>
            <ac:spMk id="9" creationId="{8C800629-A3E8-D37A-EBA9-1F1E94DD2A51}"/>
          </ac:spMkLst>
        </pc:spChg>
        <pc:spChg chg="del mod">
          <ac:chgData name="Olivia Taylor" userId="S::otaylor@nilfisk.com::c79b40f9-21eb-4631-b2ed-a33620a58e56" providerId="AD" clId="Web-{1D28A585-9B84-F0FD-3941-EEAA7F22DF72}" dt="2025-12-19T10:02:45.593" v="31"/>
          <ac:spMkLst>
            <pc:docMk/>
            <pc:sldMk cId="3587220876" sldId="2147483355"/>
            <ac:spMk id="35" creationId="{9A290B07-081E-78AA-4FE8-86BE9A49F0FB}"/>
          </ac:spMkLst>
        </pc:spChg>
        <pc:spChg chg="mod">
          <ac:chgData name="Olivia Taylor" userId="S::otaylor@nilfisk.com::c79b40f9-21eb-4631-b2ed-a33620a58e56" providerId="AD" clId="Web-{1D28A585-9B84-F0FD-3941-EEAA7F22DF72}" dt="2025-12-19T10:08:04.715" v="138" actId="1076"/>
          <ac:spMkLst>
            <pc:docMk/>
            <pc:sldMk cId="3587220876" sldId="2147483355"/>
            <ac:spMk id="36" creationId="{5E5DE5F2-0C43-B938-6A48-8C3E39575558}"/>
          </ac:spMkLst>
        </pc:spChg>
        <pc:spChg chg="mod">
          <ac:chgData name="Olivia Taylor" userId="S::otaylor@nilfisk.com::c79b40f9-21eb-4631-b2ed-a33620a58e56" providerId="AD" clId="Web-{1D28A585-9B84-F0FD-3941-EEAA7F22DF72}" dt="2025-12-19T10:08:11.777" v="140" actId="1076"/>
          <ac:spMkLst>
            <pc:docMk/>
            <pc:sldMk cId="3587220876" sldId="2147483355"/>
            <ac:spMk id="37" creationId="{F97C911E-246E-D48C-5BD0-6E3A67B19652}"/>
          </ac:spMkLst>
        </pc:spChg>
        <pc:spChg chg="del">
          <ac:chgData name="Olivia Taylor" userId="S::otaylor@nilfisk.com::c79b40f9-21eb-4631-b2ed-a33620a58e56" providerId="AD" clId="Web-{1D28A585-9B84-F0FD-3941-EEAA7F22DF72}" dt="2025-12-19T10:08:17.809" v="144"/>
          <ac:spMkLst>
            <pc:docMk/>
            <pc:sldMk cId="3587220876" sldId="2147483355"/>
            <ac:spMk id="38" creationId="{28ADB74B-D493-C4BA-0971-41F4CEF2DA87}"/>
          </ac:spMkLst>
        </pc:spChg>
        <pc:spChg chg="mod">
          <ac:chgData name="Olivia Taylor" userId="S::otaylor@nilfisk.com::c79b40f9-21eb-4631-b2ed-a33620a58e56" providerId="AD" clId="Web-{1D28A585-9B84-F0FD-3941-EEAA7F22DF72}" dt="2025-12-19T10:08:16.137" v="141" actId="1076"/>
          <ac:spMkLst>
            <pc:docMk/>
            <pc:sldMk cId="3587220876" sldId="2147483355"/>
            <ac:spMk id="39" creationId="{54FCB1DB-504F-95A8-608A-635BB594BC00}"/>
          </ac:spMkLst>
        </pc:spChg>
        <pc:spChg chg="mod">
          <ac:chgData name="Olivia Taylor" userId="S::otaylor@nilfisk.com::c79b40f9-21eb-4631-b2ed-a33620a58e56" providerId="AD" clId="Web-{1D28A585-9B84-F0FD-3941-EEAA7F22DF72}" dt="2025-12-19T10:09:55.467" v="175" actId="20577"/>
          <ac:spMkLst>
            <pc:docMk/>
            <pc:sldMk cId="3587220876" sldId="2147483355"/>
            <ac:spMk id="41" creationId="{CD9C412B-F6A2-996E-A76A-36F9D669CFF9}"/>
          </ac:spMkLst>
        </pc:spChg>
        <pc:spChg chg="mod">
          <ac:chgData name="Olivia Taylor" userId="S::otaylor@nilfisk.com::c79b40f9-21eb-4631-b2ed-a33620a58e56" providerId="AD" clId="Web-{1D28A585-9B84-F0FD-3941-EEAA7F22DF72}" dt="2025-12-19T10:09:59.483" v="177" actId="20577"/>
          <ac:spMkLst>
            <pc:docMk/>
            <pc:sldMk cId="3587220876" sldId="2147483355"/>
            <ac:spMk id="42" creationId="{B08DF9F2-E8E4-D1C4-87C2-D0FBACC3FD79}"/>
          </ac:spMkLst>
        </pc:spChg>
        <pc:spChg chg="del">
          <ac:chgData name="Olivia Taylor" userId="S::otaylor@nilfisk.com::c79b40f9-21eb-4631-b2ed-a33620a58e56" providerId="AD" clId="Web-{1D28A585-9B84-F0FD-3941-EEAA7F22DF72}" dt="2025-12-19T10:08:17.684" v="143"/>
          <ac:spMkLst>
            <pc:docMk/>
            <pc:sldMk cId="3587220876" sldId="2147483355"/>
            <ac:spMk id="44" creationId="{8C34A1ED-0BE4-5F56-BFE6-F257A86D30EF}"/>
          </ac:spMkLst>
        </pc:spChg>
        <pc:spChg chg="del">
          <ac:chgData name="Olivia Taylor" userId="S::otaylor@nilfisk.com::c79b40f9-21eb-4631-b2ed-a33620a58e56" providerId="AD" clId="Web-{1D28A585-9B84-F0FD-3941-EEAA7F22DF72}" dt="2025-12-19T10:08:17.543" v="142"/>
          <ac:spMkLst>
            <pc:docMk/>
            <pc:sldMk cId="3587220876" sldId="2147483355"/>
            <ac:spMk id="45" creationId="{ED9DC96F-E754-F327-8ADE-12A410F5807F}"/>
          </ac:spMkLst>
        </pc:spChg>
      </pc:sldChg>
      <pc:sldChg chg="addSp delSp modSp">
        <pc:chgData name="Olivia Taylor" userId="S::otaylor@nilfisk.com::c79b40f9-21eb-4631-b2ed-a33620a58e56" providerId="AD" clId="Web-{1D28A585-9B84-F0FD-3941-EEAA7F22DF72}" dt="2025-12-19T10:10:47.687" v="191" actId="1076"/>
        <pc:sldMkLst>
          <pc:docMk/>
          <pc:sldMk cId="1991762189" sldId="2147483356"/>
        </pc:sldMkLst>
        <pc:spChg chg="add del mod">
          <ac:chgData name="Olivia Taylor" userId="S::otaylor@nilfisk.com::c79b40f9-21eb-4631-b2ed-a33620a58e56" providerId="AD" clId="Web-{1D28A585-9B84-F0FD-3941-EEAA7F22DF72}" dt="2025-12-19T10:08:41.184" v="154"/>
          <ac:spMkLst>
            <pc:docMk/>
            <pc:sldMk cId="1991762189" sldId="2147483356"/>
            <ac:spMk id="5" creationId="{9B509013-370A-2458-FB20-55D510158920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08:42.856" v="158"/>
          <ac:spMkLst>
            <pc:docMk/>
            <pc:sldMk cId="1991762189" sldId="2147483356"/>
            <ac:spMk id="7" creationId="{73516A99-0505-B763-CA16-32B144BB4038}"/>
          </ac:spMkLst>
        </pc:spChg>
        <pc:spChg chg="add del mod">
          <ac:chgData name="Olivia Taylor" userId="S::otaylor@nilfisk.com::c79b40f9-21eb-4631-b2ed-a33620a58e56" providerId="AD" clId="Web-{1D28A585-9B84-F0FD-3941-EEAA7F22DF72}" dt="2025-12-19T10:08:42.856" v="157"/>
          <ac:spMkLst>
            <pc:docMk/>
            <pc:sldMk cId="1991762189" sldId="2147483356"/>
            <ac:spMk id="9" creationId="{5D31095A-1F05-8F5F-47BA-9F5CFD0AB96F}"/>
          </ac:spMkLst>
        </pc:spChg>
        <pc:spChg chg="del mod">
          <ac:chgData name="Olivia Taylor" userId="S::otaylor@nilfisk.com::c79b40f9-21eb-4631-b2ed-a33620a58e56" providerId="AD" clId="Web-{1D28A585-9B84-F0FD-3941-EEAA7F22DF72}" dt="2025-12-19T10:08:27.215" v="149"/>
          <ac:spMkLst>
            <pc:docMk/>
            <pc:sldMk cId="1991762189" sldId="2147483356"/>
            <ac:spMk id="35" creationId="{C69B7C84-BD98-1BE7-4C50-EF7DFB6BE877}"/>
          </ac:spMkLst>
        </pc:spChg>
        <pc:spChg chg="mod">
          <ac:chgData name="Olivia Taylor" userId="S::otaylor@nilfisk.com::c79b40f9-21eb-4631-b2ed-a33620a58e56" providerId="AD" clId="Web-{1D28A585-9B84-F0FD-3941-EEAA7F22DF72}" dt="2025-12-19T10:08:30.075" v="150" actId="1076"/>
          <ac:spMkLst>
            <pc:docMk/>
            <pc:sldMk cId="1991762189" sldId="2147483356"/>
            <ac:spMk id="36" creationId="{069EFB1F-BEC7-3A62-12C1-0FA5E1370010}"/>
          </ac:spMkLst>
        </pc:spChg>
        <pc:spChg chg="mod">
          <ac:chgData name="Olivia Taylor" userId="S::otaylor@nilfisk.com::c79b40f9-21eb-4631-b2ed-a33620a58e56" providerId="AD" clId="Web-{1D28A585-9B84-F0FD-3941-EEAA7F22DF72}" dt="2025-12-19T10:08:33.231" v="151" actId="1076"/>
          <ac:spMkLst>
            <pc:docMk/>
            <pc:sldMk cId="1991762189" sldId="2147483356"/>
            <ac:spMk id="37" creationId="{430253DB-67ED-A2F1-5580-2E2C61DCF9AE}"/>
          </ac:spMkLst>
        </pc:spChg>
        <pc:spChg chg="del">
          <ac:chgData name="Olivia Taylor" userId="S::otaylor@nilfisk.com::c79b40f9-21eb-4631-b2ed-a33620a58e56" providerId="AD" clId="Web-{1D28A585-9B84-F0FD-3941-EEAA7F22DF72}" dt="2025-12-19T10:08:36.653" v="152"/>
          <ac:spMkLst>
            <pc:docMk/>
            <pc:sldMk cId="1991762189" sldId="2147483356"/>
            <ac:spMk id="38" creationId="{0CDB9F53-3B5F-F2BB-0E5B-37AFBBC55680}"/>
          </ac:spMkLst>
        </pc:spChg>
        <pc:spChg chg="mod">
          <ac:chgData name="Olivia Taylor" userId="S::otaylor@nilfisk.com::c79b40f9-21eb-4631-b2ed-a33620a58e56" providerId="AD" clId="Web-{1D28A585-9B84-F0FD-3941-EEAA7F22DF72}" dt="2025-12-19T10:08:39.919" v="153" actId="1076"/>
          <ac:spMkLst>
            <pc:docMk/>
            <pc:sldMk cId="1991762189" sldId="2147483356"/>
            <ac:spMk id="39" creationId="{A022B260-CBB0-0FEB-E558-6AA3EF44F02C}"/>
          </ac:spMkLst>
        </pc:spChg>
        <pc:spChg chg="mod">
          <ac:chgData name="Olivia Taylor" userId="S::otaylor@nilfisk.com::c79b40f9-21eb-4631-b2ed-a33620a58e56" providerId="AD" clId="Web-{1D28A585-9B84-F0FD-3941-EEAA7F22DF72}" dt="2025-12-19T10:10:47.687" v="191" actId="1076"/>
          <ac:spMkLst>
            <pc:docMk/>
            <pc:sldMk cId="1991762189" sldId="2147483356"/>
            <ac:spMk id="42" creationId="{ECE92A3A-8976-9F07-C6D2-41E9A25D1255}"/>
          </ac:spMkLst>
        </pc:spChg>
        <pc:spChg chg="mod">
          <ac:chgData name="Olivia Taylor" userId="S::otaylor@nilfisk.com::c79b40f9-21eb-4631-b2ed-a33620a58e56" providerId="AD" clId="Web-{1D28A585-9B84-F0FD-3941-EEAA7F22DF72}" dt="2025-12-19T10:10:37.593" v="187" actId="20577"/>
          <ac:spMkLst>
            <pc:docMk/>
            <pc:sldMk cId="1991762189" sldId="2147483356"/>
            <ac:spMk id="43" creationId="{668F9D77-C93C-1CE9-A97B-FC8F2D95CEC7}"/>
          </ac:spMkLst>
        </pc:spChg>
        <pc:spChg chg="del">
          <ac:chgData name="Olivia Taylor" userId="S::otaylor@nilfisk.com::c79b40f9-21eb-4631-b2ed-a33620a58e56" providerId="AD" clId="Web-{1D28A585-9B84-F0FD-3941-EEAA7F22DF72}" dt="2025-12-19T10:08:41.434" v="156"/>
          <ac:spMkLst>
            <pc:docMk/>
            <pc:sldMk cId="1991762189" sldId="2147483356"/>
            <ac:spMk id="44" creationId="{BCDA655A-2BB4-8A9E-0A69-65E86462954B}"/>
          </ac:spMkLst>
        </pc:spChg>
        <pc:spChg chg="del">
          <ac:chgData name="Olivia Taylor" userId="S::otaylor@nilfisk.com::c79b40f9-21eb-4631-b2ed-a33620a58e56" providerId="AD" clId="Web-{1D28A585-9B84-F0FD-3941-EEAA7F22DF72}" dt="2025-12-19T10:08:41.309" v="155"/>
          <ac:spMkLst>
            <pc:docMk/>
            <pc:sldMk cId="1991762189" sldId="2147483356"/>
            <ac:spMk id="45" creationId="{D9EE3038-544F-E9FE-13B6-2230A6425103}"/>
          </ac:spMkLst>
        </pc:spChg>
      </pc:sldChg>
      <pc:sldChg chg="addSp delSp modSp">
        <pc:chgData name="Olivia Taylor" userId="S::otaylor@nilfisk.com::c79b40f9-21eb-4631-b2ed-a33620a58e56" providerId="AD" clId="Web-{1D28A585-9B84-F0FD-3941-EEAA7F22DF72}" dt="2025-12-19T10:11:17.594" v="200" actId="1076"/>
        <pc:sldMkLst>
          <pc:docMk/>
          <pc:sldMk cId="2039770519" sldId="2147483357"/>
        </pc:sldMkLst>
        <pc:spChg chg="add del mod">
          <ac:chgData name="Olivia Taylor" userId="S::otaylor@nilfisk.com::c79b40f9-21eb-4631-b2ed-a33620a58e56" providerId="AD" clId="Web-{1D28A585-9B84-F0FD-3941-EEAA7F22DF72}" dt="2025-12-19T10:09:09.951" v="165"/>
          <ac:spMkLst>
            <pc:docMk/>
            <pc:sldMk cId="2039770519" sldId="2147483357"/>
            <ac:spMk id="5" creationId="{FB32F35E-6F10-74CB-F5E8-76B23388FF77}"/>
          </ac:spMkLst>
        </pc:spChg>
        <pc:spChg chg="del">
          <ac:chgData name="Olivia Taylor" userId="S::otaylor@nilfisk.com::c79b40f9-21eb-4631-b2ed-a33620a58e56" providerId="AD" clId="Web-{1D28A585-9B84-F0FD-3941-EEAA7F22DF72}" dt="2025-12-19T10:08:50.325" v="159"/>
          <ac:spMkLst>
            <pc:docMk/>
            <pc:sldMk cId="2039770519" sldId="2147483357"/>
            <ac:spMk id="35" creationId="{20FF749A-9C35-922E-C596-58818A06F07B}"/>
          </ac:spMkLst>
        </pc:spChg>
        <pc:spChg chg="mod">
          <ac:chgData name="Olivia Taylor" userId="S::otaylor@nilfisk.com::c79b40f9-21eb-4631-b2ed-a33620a58e56" providerId="AD" clId="Web-{1D28A585-9B84-F0FD-3941-EEAA7F22DF72}" dt="2025-12-19T10:08:55.028" v="160" actId="1076"/>
          <ac:spMkLst>
            <pc:docMk/>
            <pc:sldMk cId="2039770519" sldId="2147483357"/>
            <ac:spMk id="36" creationId="{1279CB5E-FFB3-FF23-4BC7-36B69C1F2020}"/>
          </ac:spMkLst>
        </pc:spChg>
        <pc:spChg chg="mod">
          <ac:chgData name="Olivia Taylor" userId="S::otaylor@nilfisk.com::c79b40f9-21eb-4631-b2ed-a33620a58e56" providerId="AD" clId="Web-{1D28A585-9B84-F0FD-3941-EEAA7F22DF72}" dt="2025-12-19T10:08:58.044" v="161" actId="1076"/>
          <ac:spMkLst>
            <pc:docMk/>
            <pc:sldMk cId="2039770519" sldId="2147483357"/>
            <ac:spMk id="37" creationId="{0B4A01B0-4AEC-29BC-B07F-5B8A18A6F6CC}"/>
          </ac:spMkLst>
        </pc:spChg>
        <pc:spChg chg="del mod">
          <ac:chgData name="Olivia Taylor" userId="S::otaylor@nilfisk.com::c79b40f9-21eb-4631-b2ed-a33620a58e56" providerId="AD" clId="Web-{1D28A585-9B84-F0FD-3941-EEAA7F22DF72}" dt="2025-12-19T10:09:07.982" v="164"/>
          <ac:spMkLst>
            <pc:docMk/>
            <pc:sldMk cId="2039770519" sldId="2147483357"/>
            <ac:spMk id="38" creationId="{BDC11FAD-65B1-155E-DD9D-3C0290FA21A5}"/>
          </ac:spMkLst>
        </pc:spChg>
        <pc:spChg chg="mod">
          <ac:chgData name="Olivia Taylor" userId="S::otaylor@nilfisk.com::c79b40f9-21eb-4631-b2ed-a33620a58e56" providerId="AD" clId="Web-{1D28A585-9B84-F0FD-3941-EEAA7F22DF72}" dt="2025-12-19T10:09:01.310" v="162" actId="1076"/>
          <ac:spMkLst>
            <pc:docMk/>
            <pc:sldMk cId="2039770519" sldId="2147483357"/>
            <ac:spMk id="39" creationId="{35B28A76-E573-9284-6FDF-C06E08DAC156}"/>
          </ac:spMkLst>
        </pc:spChg>
        <pc:spChg chg="del">
          <ac:chgData name="Olivia Taylor" userId="S::otaylor@nilfisk.com::c79b40f9-21eb-4631-b2ed-a33620a58e56" providerId="AD" clId="Web-{1D28A585-9B84-F0FD-3941-EEAA7F22DF72}" dt="2025-12-19T10:11:15.375" v="199"/>
          <ac:spMkLst>
            <pc:docMk/>
            <pc:sldMk cId="2039770519" sldId="2147483357"/>
            <ac:spMk id="43" creationId="{A54C7014-8F0A-F417-51C7-CAF3C0B523D2}"/>
          </ac:spMkLst>
        </pc:spChg>
        <pc:spChg chg="mod">
          <ac:chgData name="Olivia Taylor" userId="S::otaylor@nilfisk.com::c79b40f9-21eb-4631-b2ed-a33620a58e56" providerId="AD" clId="Web-{1D28A585-9B84-F0FD-3941-EEAA7F22DF72}" dt="2025-12-19T10:11:17.594" v="200" actId="1076"/>
          <ac:spMkLst>
            <pc:docMk/>
            <pc:sldMk cId="2039770519" sldId="2147483357"/>
            <ac:spMk id="44" creationId="{EA3133A2-5361-BBD5-E21F-B61C8C07E141}"/>
          </ac:spMkLst>
        </pc:spChg>
        <pc:spChg chg="del">
          <ac:chgData name="Olivia Taylor" userId="S::otaylor@nilfisk.com::c79b40f9-21eb-4631-b2ed-a33620a58e56" providerId="AD" clId="Web-{1D28A585-9B84-F0FD-3941-EEAA7F22DF72}" dt="2025-12-19T10:09:06.982" v="163"/>
          <ac:spMkLst>
            <pc:docMk/>
            <pc:sldMk cId="2039770519" sldId="2147483357"/>
            <ac:spMk id="45" creationId="{F7CAE7D2-D304-6C67-F7FF-CB8CB8A163E5}"/>
          </ac:spMkLst>
        </pc:spChg>
      </pc:sldChg>
      <pc:sldChg chg="addSp delSp modSp del">
        <pc:chgData name="Olivia Taylor" userId="S::otaylor@nilfisk.com::c79b40f9-21eb-4631-b2ed-a33620a58e56" providerId="AD" clId="Web-{1D28A585-9B84-F0FD-3941-EEAA7F22DF72}" dt="2025-12-19T10:11:22.078" v="201"/>
        <pc:sldMkLst>
          <pc:docMk/>
          <pc:sldMk cId="1035134765" sldId="2147483358"/>
        </pc:sldMkLst>
        <pc:spChg chg="add mod">
          <ac:chgData name="Olivia Taylor" userId="S::otaylor@nilfisk.com::c79b40f9-21eb-4631-b2ed-a33620a58e56" providerId="AD" clId="Web-{1D28A585-9B84-F0FD-3941-EEAA7F22DF72}" dt="2025-12-19T10:09:20.076" v="167"/>
          <ac:spMkLst>
            <pc:docMk/>
            <pc:sldMk cId="1035134765" sldId="2147483358"/>
            <ac:spMk id="5" creationId="{71AB270E-ED82-15D2-82C7-33BB59C9C4D4}"/>
          </ac:spMkLst>
        </pc:spChg>
        <pc:spChg chg="del">
          <ac:chgData name="Olivia Taylor" userId="S::otaylor@nilfisk.com::c79b40f9-21eb-4631-b2ed-a33620a58e56" providerId="AD" clId="Web-{1D28A585-9B84-F0FD-3941-EEAA7F22DF72}" dt="2025-12-19T10:09:15.544" v="166"/>
          <ac:spMkLst>
            <pc:docMk/>
            <pc:sldMk cId="1035134765" sldId="2147483358"/>
            <ac:spMk id="35" creationId="{466E8217-0F62-AC59-C956-0024B47DE04B}"/>
          </ac:spMkLst>
        </pc:spChg>
        <pc:spChg chg="mod">
          <ac:chgData name="Olivia Taylor" userId="S::otaylor@nilfisk.com::c79b40f9-21eb-4631-b2ed-a33620a58e56" providerId="AD" clId="Web-{1D28A585-9B84-F0FD-3941-EEAA7F22DF72}" dt="2025-12-19T10:09:30.045" v="170" actId="1076"/>
          <ac:spMkLst>
            <pc:docMk/>
            <pc:sldMk cId="1035134765" sldId="2147483358"/>
            <ac:spMk id="36" creationId="{0CDCE36A-1EF6-6BFD-4B90-8A5F4C53F3AC}"/>
          </ac:spMkLst>
        </pc:spChg>
        <pc:spChg chg="mod">
          <ac:chgData name="Olivia Taylor" userId="S::otaylor@nilfisk.com::c79b40f9-21eb-4631-b2ed-a33620a58e56" providerId="AD" clId="Web-{1D28A585-9B84-F0FD-3941-EEAA7F22DF72}" dt="2025-12-19T10:09:32.373" v="171" actId="1076"/>
          <ac:spMkLst>
            <pc:docMk/>
            <pc:sldMk cId="1035134765" sldId="2147483358"/>
            <ac:spMk id="37" creationId="{A37DDA01-2204-1320-E83C-21166F2C17AB}"/>
          </ac:spMkLst>
        </pc:spChg>
        <pc:spChg chg="del">
          <ac:chgData name="Olivia Taylor" userId="S::otaylor@nilfisk.com::c79b40f9-21eb-4631-b2ed-a33620a58e56" providerId="AD" clId="Web-{1D28A585-9B84-F0FD-3941-EEAA7F22DF72}" dt="2025-12-19T10:09:20.076" v="167"/>
          <ac:spMkLst>
            <pc:docMk/>
            <pc:sldMk cId="1035134765" sldId="2147483358"/>
            <ac:spMk id="38" creationId="{7171BC71-9C6C-B113-501B-307F13C7079A}"/>
          </ac:spMkLst>
        </pc:spChg>
        <pc:spChg chg="mod">
          <ac:chgData name="Olivia Taylor" userId="S::otaylor@nilfisk.com::c79b40f9-21eb-4631-b2ed-a33620a58e56" providerId="AD" clId="Web-{1D28A585-9B84-F0FD-3941-EEAA7F22DF72}" dt="2025-12-19T10:09:35.842" v="172" actId="1076"/>
          <ac:spMkLst>
            <pc:docMk/>
            <pc:sldMk cId="1035134765" sldId="2147483358"/>
            <ac:spMk id="39" creationId="{D2EFC50A-050B-9832-888E-8D812F72BAA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2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6233C2-77FD-4B13-2FB9-7D4949523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CBB4D8-AF2F-F8C9-25A1-0FA6A64826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E36A74-157E-B4F3-FD38-F64D9A928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5E2F46-14D5-ED4E-384B-5DAB139352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828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C72634-4240-765F-2C7B-149241338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16F3EB-0AFC-D2E2-31D8-3744C39435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446487-A3D2-D5B9-D74A-A26CAD5DFA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>
              <a:solidFill>
                <a:srgbClr val="C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808C76-9CD5-9EAF-0091-B75C485BC4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9426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D9EFD0-E486-0C78-2497-DE1C400545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B72E95AA-1C78-D34E-BCB5-B9A2F78D5B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D1BB31CD-F88D-9C83-8F37-861154AEB7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15C4020-FDCA-986F-316D-FFC0687F79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7558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A91AF1-AD3D-A4B9-5A3D-2FB60D9901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7D1860C-94DD-E197-D740-927AC9AB48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6E5C76F-ED20-D6A9-25A5-29314C10C1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C10260F-92B9-83D3-377B-CDF0F87ABD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5331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EB0277-EB18-FBBF-3258-829F3A55A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1CEA2-2E85-8091-7703-EF6198D21A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AFC235-F0C1-E43E-980D-DDA3B43AE1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385518-659B-2BA4-DE47-F6CBE2A848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51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9647A-D4EA-0B37-BB36-D862CCC92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F0E01D-EEED-1815-F7C5-0A1494EBB3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11D33C-4C0F-5E75-7923-695AE416B4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E2D43C-30FC-3148-E5FA-035E9D619E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7814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7A8EC9-FAD5-548B-0BA2-6AB5BE9AD1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4B48A3-B561-7989-65FA-791986F63B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CB487D-4F3E-E0E0-B426-4F5C069240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E2B4E8-1758-407D-BB40-C779CE8842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786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22B11-80E9-A4BF-F2AF-BEF22C369E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F02D0E-A095-13FE-EAE7-4C177F1D69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46F9AB-F4D6-300B-A15F-A034EF8BE8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695D4-5A1C-F83F-E961-13F9289755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461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42213-9FFF-BC99-F8F6-D572A55FF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208B77-977B-C08B-FB23-7D7A47F146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A003E7-C7AF-64AE-5BAA-045709E621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54AD6-4782-20C5-A6F4-0BF7B852D6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98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753CF1-81C0-BBF5-DC01-1FF88B54A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68676A-3E6A-A053-C133-187B820C31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641835-5FCF-849B-A306-FF4E6C3E20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55489-56FB-0D4D-0B51-C498A159D9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5412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2140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735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5203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A3D3C40-CD78-0BA7-FD2B-413603CE259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Picture 6" descr="Text, logo&#10;&#10;Description automatically generated">
            <a:extLst>
              <a:ext uri="{FF2B5EF4-FFF2-40B4-BE49-F238E27FC236}">
                <a16:creationId xmlns:a16="http://schemas.microsoft.com/office/drawing/2014/main" id="{09A17B21-9D87-F2D6-6AE8-2A20B7F7C07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61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2438741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0.xml"/><Relationship Id="rId4" Type="http://schemas.openxmlformats.org/officeDocument/2006/relationships/image" Target="../media/image24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6" Type="http://schemas.openxmlformats.org/officeDocument/2006/relationships/image" Target="../media/image25.tif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2.xml"/><Relationship Id="rId5" Type="http://schemas.openxmlformats.org/officeDocument/2006/relationships/image" Target="../media/image19.png"/><Relationship Id="rId4" Type="http://schemas.openxmlformats.org/officeDocument/2006/relationships/image" Target="../media/image16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6" Type="http://schemas.openxmlformats.org/officeDocument/2006/relationships/image" Target="../media/image27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.xml"/><Relationship Id="rId6" Type="http://schemas.openxmlformats.org/officeDocument/2006/relationships/image" Target="../media/image30.jpe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6.xml"/><Relationship Id="rId6" Type="http://schemas.openxmlformats.org/officeDocument/2006/relationships/image" Target="../media/image3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3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9.tif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38.tiff"/><Relationship Id="rId5" Type="http://schemas.openxmlformats.org/officeDocument/2006/relationships/image" Target="../media/image37.tiff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9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40.tif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1.emf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0.xml"/><Relationship Id="rId6" Type="http://schemas.openxmlformats.org/officeDocument/2006/relationships/oleObject" Target="../embeddings/oleObject26.bin"/><Relationship Id="rId5" Type="http://schemas.openxmlformats.org/officeDocument/2006/relationships/image" Target="../media/image42.tiff"/><Relationship Id="rId4" Type="http://schemas.openxmlformats.org/officeDocument/2006/relationships/image" Target="../media/image41.tif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1.xml"/><Relationship Id="rId6" Type="http://schemas.openxmlformats.org/officeDocument/2006/relationships/image" Target="../media/image43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2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28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5" Type="http://schemas.openxmlformats.org/officeDocument/2006/relationships/image" Target="../media/image15.jpeg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>
            <a:extLst>
              <a:ext uri="{FF2B5EF4-FFF2-40B4-BE49-F238E27FC236}">
                <a16:creationId xmlns:a16="http://schemas.microsoft.com/office/drawing/2014/main" id="{014EBB4E-14F2-B549-DACA-3F1B89485581}"/>
              </a:ext>
            </a:extLst>
          </p:cNvPr>
          <p:cNvSpPr/>
          <p:nvPr/>
        </p:nvSpPr>
        <p:spPr>
          <a:xfrm>
            <a:off x="0" y="-80686"/>
            <a:ext cx="12192000" cy="63544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2000" noProof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-80685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D472AA2-3842-90B4-F546-C201503E3E1A}"/>
              </a:ext>
            </a:extLst>
          </p:cNvPr>
          <p:cNvSpPr/>
          <p:nvPr/>
        </p:nvSpPr>
        <p:spPr>
          <a:xfrm>
            <a:off x="0" y="-80685"/>
            <a:ext cx="12192000" cy="3860800"/>
          </a:xfrm>
          <a:prstGeom prst="rect">
            <a:avLst/>
          </a:prstGeom>
          <a:gradFill>
            <a:gsLst>
              <a:gs pos="0">
                <a:schemeClr val="tx1">
                  <a:alpha val="85000"/>
                </a:schemeClr>
              </a:gs>
              <a:gs pos="100000">
                <a:schemeClr val="tx1">
                  <a:alpha val="0"/>
                </a:schemeClr>
              </a:gs>
              <a:gs pos="62000">
                <a:schemeClr val="tx1">
                  <a:alpha val="25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>
              <a:solidFill>
                <a:schemeClr val="tx1"/>
              </a:solidFill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58DFDC5-4E74-B7DF-0C36-CE66B553A5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97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DFDC5-4E74-B7DF-0C36-CE66B553A5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58509"/>
            <a:ext cx="3725022" cy="954107"/>
          </a:xfrm>
        </p:spPr>
        <p:txBody>
          <a:bodyPr vert="horz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800" noProof="0" dirty="0"/>
              <a:t>Nilfisk VP500</a:t>
            </a:r>
            <a:br>
              <a:rPr lang="en-GB" sz="2800" noProof="0" dirty="0"/>
            </a:br>
            <a:r>
              <a:rPr lang="en-GB" sz="1400" b="0" i="1" noProof="0">
                <a:latin typeface="+mn-lt"/>
              </a:rPr>
              <a:t>Commercial dry </a:t>
            </a:r>
            <a:r>
              <a:rPr lang="en-GB" sz="1400" b="0" i="1">
                <a:latin typeface="+mn-lt"/>
              </a:rPr>
              <a:t>vacuum</a:t>
            </a:r>
            <a:br>
              <a:rPr lang="en-GB" sz="2000" b="0" noProof="0" dirty="0">
                <a:latin typeface="+mn-lt"/>
              </a:rPr>
            </a:br>
            <a:r>
              <a:rPr lang="en-GB" sz="2000" b="0">
                <a:latin typeface="+mn-lt"/>
              </a:rPr>
              <a:t>EXTERNAL sales</a:t>
            </a:r>
            <a:r>
              <a:rPr lang="en-GB" sz="2000" b="0" noProof="0">
                <a:latin typeface="+mn-lt"/>
              </a:rPr>
              <a:t> presentation</a:t>
            </a:r>
            <a:endParaRPr lang="en-GB" sz="2800" noProof="0"/>
          </a:p>
        </p:txBody>
      </p:sp>
      <p:pic>
        <p:nvPicPr>
          <p:cNvPr id="4" name="Picture 3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8956B7AB-2BCE-C88B-F6E1-5005352690D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5784" y="1590264"/>
            <a:ext cx="3667420" cy="406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F904E5-0DD9-8773-C63D-3F93012B13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280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904E5-0DD9-8773-C63D-3F93012B13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1C7D74D-965F-A19E-4D13-2C40339497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82560" y="0"/>
            <a:ext cx="6209440" cy="628489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GB" noProof="0"/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90D7BC-7307-57BB-DAC8-792BC9BA3C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buNone/>
              <a:tabLst>
                <a:tab pos="2867025" algn="l"/>
              </a:tabLst>
            </a:pPr>
            <a:endParaRPr lang="en-GB" sz="1600" noProof="0">
              <a:latin typeface="+mj-lt"/>
            </a:endParaRPr>
          </a:p>
          <a:p>
            <a:pPr marL="0" indent="0">
              <a:buNone/>
              <a:tabLst>
                <a:tab pos="2867025" algn="l"/>
              </a:tabLst>
            </a:pPr>
            <a:endParaRPr lang="en-GB" sz="1600" noProof="0">
              <a:latin typeface="+mj-lt"/>
            </a:endParaRPr>
          </a:p>
          <a:p>
            <a:pPr marL="0" indent="0">
              <a:buNone/>
              <a:tabLst>
                <a:tab pos="2867025" algn="l"/>
              </a:tabLst>
            </a:pPr>
            <a:r>
              <a:rPr lang="en-GB" sz="1600" noProof="0" dirty="0">
                <a:latin typeface="+mj-lt"/>
              </a:rPr>
              <a:t>New Commercial Vacuum range</a:t>
            </a:r>
            <a:endParaRPr lang="en-GB" sz="1600" noProof="0" dirty="0">
              <a:latin typeface="+mj-lt"/>
              <a:ea typeface="Roboto Bold"/>
              <a:cs typeface="Roboto Bold"/>
            </a:endParaRPr>
          </a:p>
          <a:p>
            <a:pPr marL="0" indent="0">
              <a:buNone/>
              <a:tabLst>
                <a:tab pos="2867025" algn="l"/>
              </a:tabLst>
            </a:pPr>
            <a:r>
              <a:rPr lang="en-GB" sz="1200" noProof="0">
                <a:solidFill>
                  <a:schemeClr val="accent3"/>
                </a:solidFill>
                <a:latin typeface="Roboto Light italic"/>
                <a:ea typeface="Roboto Light italic"/>
                <a:cs typeface="Roboto Light italic"/>
              </a:rPr>
              <a:t>Compact Dry </a:t>
            </a:r>
            <a:r>
              <a:rPr lang="en-GB" sz="1200">
                <a:solidFill>
                  <a:schemeClr val="accent3"/>
                </a:solidFill>
                <a:latin typeface="Roboto Light italic"/>
                <a:ea typeface="Roboto Light italic"/>
                <a:cs typeface="Roboto Light italic"/>
              </a:rPr>
              <a:t>Vacuum</a:t>
            </a:r>
            <a:endParaRPr lang="en-GB" sz="1200" noProof="0">
              <a:solidFill>
                <a:schemeClr val="accent3"/>
              </a:solidFill>
              <a:latin typeface="Roboto Light italic" panose="02000000000000000000" pitchFamily="2" charset="0"/>
              <a:ea typeface="Roboto Light italic" panose="02000000000000000000" pitchFamily="2" charset="0"/>
              <a:cs typeface="Roboto Light italic"/>
            </a:endParaRPr>
          </a:p>
          <a:p>
            <a:pPr marL="0" indent="0">
              <a:buNone/>
              <a:tabLst>
                <a:tab pos="2867025" algn="l"/>
              </a:tabLst>
            </a:pPr>
            <a:endParaRPr lang="en-GB" b="1" noProof="0"/>
          </a:p>
          <a:p>
            <a:pPr marL="0" indent="0">
              <a:buNone/>
              <a:tabLst>
                <a:tab pos="2867025" algn="l"/>
              </a:tabLst>
            </a:pPr>
            <a:endParaRPr lang="en-GB" b="1" noProof="0"/>
          </a:p>
          <a:p>
            <a:pPr marL="0" indent="0">
              <a:buNone/>
              <a:tabLst>
                <a:tab pos="2867025" algn="l"/>
              </a:tabLst>
            </a:pPr>
            <a:r>
              <a:rPr lang="en-GB" noProof="0" dirty="0">
                <a:latin typeface="Roboto Bold"/>
                <a:ea typeface="Roboto Bold"/>
                <a:cs typeface="Roboto Bold"/>
              </a:rPr>
              <a:t>VP300 ‘Series’</a:t>
            </a:r>
            <a:r>
              <a:rPr lang="en-GB" noProof="0" dirty="0">
                <a:latin typeface="Roboto Medium"/>
                <a:ea typeface="Roboto Medium"/>
                <a:cs typeface="Roboto Medium"/>
              </a:rPr>
              <a:t>	</a:t>
            </a:r>
            <a:r>
              <a:rPr lang="en-GB" noProof="0" dirty="0">
                <a:latin typeface="Roboto Bold"/>
                <a:ea typeface="Roboto Bold"/>
                <a:cs typeface="Roboto Bold"/>
              </a:rPr>
              <a:t>Launch</a:t>
            </a:r>
          </a:p>
          <a:p>
            <a:pPr marL="198755" indent="-198755">
              <a:tabLst>
                <a:tab pos="2867025" algn="l"/>
              </a:tabLst>
            </a:pPr>
            <a:r>
              <a:rPr lang="en-GB" sz="1200" noProof="0" dirty="0"/>
              <a:t>VP300 (manual cord)	</a:t>
            </a:r>
            <a:r>
              <a:rPr lang="en-GB" sz="1100" i="1" noProof="0" dirty="0"/>
              <a:t>Feb 2025</a:t>
            </a:r>
            <a:endParaRPr lang="en-GB" sz="1100" i="1" noProof="0" dirty="0">
              <a:ea typeface="Roboto Light"/>
              <a:cs typeface="Roboto Light"/>
            </a:endParaRPr>
          </a:p>
          <a:p>
            <a:pPr marL="198755" indent="-198755">
              <a:tabLst>
                <a:tab pos="2867025" algn="l"/>
              </a:tabLst>
            </a:pPr>
            <a:r>
              <a:rPr lang="en-GB" sz="1200" noProof="0" dirty="0"/>
              <a:t>VP400 (handle cord rewind)	</a:t>
            </a:r>
            <a:r>
              <a:rPr lang="en-GB" sz="1100" i="1" noProof="0" dirty="0"/>
              <a:t>Feb 2025</a:t>
            </a:r>
            <a:endParaRPr lang="en-GB" sz="1100" i="1" noProof="0" dirty="0">
              <a:ea typeface="Roboto Light"/>
              <a:cs typeface="Roboto Light"/>
            </a:endParaRPr>
          </a:p>
          <a:p>
            <a:pPr marL="198755" indent="-198755">
              <a:tabLst>
                <a:tab pos="2867025" algn="l"/>
              </a:tabLst>
            </a:pPr>
            <a:r>
              <a:rPr lang="en-GB" sz="1200" noProof="0" dirty="0"/>
              <a:t>VP500 (battery)</a:t>
            </a:r>
            <a:r>
              <a:rPr lang="en-GB" sz="1200" noProof="0" dirty="0">
                <a:sym typeface="Wingdings" panose="05000000000000000000" pitchFamily="2" charset="2"/>
              </a:rPr>
              <a:t>*</a:t>
            </a:r>
            <a:r>
              <a:rPr lang="en-GB" sz="1200" i="1" noProof="0" dirty="0">
                <a:sym typeface="Wingdings" panose="05000000000000000000" pitchFamily="2" charset="2"/>
              </a:rPr>
              <a:t>	</a:t>
            </a:r>
            <a:r>
              <a:rPr lang="en-GB" sz="1100" i="1" noProof="0" dirty="0">
                <a:sym typeface="Wingdings" panose="05000000000000000000" pitchFamily="2" charset="2"/>
              </a:rPr>
              <a:t>Dec 2025</a:t>
            </a:r>
            <a:endParaRPr lang="en-GB" sz="1100" i="1" noProof="0" dirty="0">
              <a:ea typeface="Roboto Light"/>
              <a:cs typeface="Roboto Light"/>
            </a:endParaRPr>
          </a:p>
          <a:p>
            <a:pPr marL="0" indent="0">
              <a:buNone/>
              <a:tabLst>
                <a:tab pos="2867025" algn="l"/>
              </a:tabLst>
            </a:pPr>
            <a:endParaRPr lang="en-GB" noProof="0"/>
          </a:p>
          <a:p>
            <a:pPr marL="0" indent="0">
              <a:buNone/>
              <a:tabLst>
                <a:tab pos="2867025" algn="l"/>
              </a:tabLst>
            </a:pPr>
            <a:endParaRPr lang="en-GB" noProof="0"/>
          </a:p>
          <a:p>
            <a:pPr marL="0" indent="0">
              <a:buNone/>
              <a:tabLst>
                <a:tab pos="2867025" algn="l"/>
              </a:tabLst>
            </a:pPr>
            <a:r>
              <a:rPr lang="en-GB" noProof="0" dirty="0">
                <a:latin typeface="Roboto Bold"/>
                <a:ea typeface="Roboto Bold"/>
                <a:cs typeface="Roboto Bold"/>
              </a:rPr>
              <a:t>VP700</a:t>
            </a:r>
            <a:r>
              <a:rPr lang="en-GB" noProof="0" dirty="0"/>
              <a:t> (manual cord)</a:t>
            </a:r>
            <a:r>
              <a:rPr lang="en-GB" noProof="0" dirty="0">
                <a:sym typeface="Wingdings" panose="05000000000000000000" pitchFamily="2" charset="2"/>
              </a:rPr>
              <a:t> 	</a:t>
            </a:r>
            <a:r>
              <a:rPr lang="en-GB" sz="1100" i="1" noProof="0" dirty="0">
                <a:sym typeface="Wingdings" panose="05000000000000000000" pitchFamily="2" charset="2"/>
              </a:rPr>
              <a:t>Dec 2025</a:t>
            </a:r>
            <a:endParaRPr lang="en-GB" sz="1100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BF7C6-1FC2-45AC-8AAE-AEF21722C61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9098D-6848-48DB-9A7B-8900C67780E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10</a:t>
            </a:fld>
            <a:endParaRPr lang="en-GB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F9D87C-F01C-440F-A141-FC5A989DD3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Naming details in syste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DC7FDD-8A74-4DEC-86DE-5FCF4AFC1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2</a:t>
            </a:r>
            <a:r>
              <a:rPr lang="en-GB" noProof="0"/>
              <a:t> | New battery vacuum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28A091-260E-03A8-8990-6D922C386BF6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525577" y="2089436"/>
            <a:ext cx="5315903" cy="3539430"/>
          </a:xfrm>
        </p:spPr>
        <p:txBody>
          <a:bodyPr>
            <a:spAutoFit/>
          </a:bodyPr>
          <a:lstStyle/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noProof="0">
                <a:latin typeface="+mj-lt"/>
              </a:rPr>
              <a:t>Naming details*	If not part of name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endParaRPr lang="en-GB" sz="1200" noProof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R</a:t>
            </a:r>
            <a:r>
              <a:rPr lang="en-GB" sz="1200" noProof="0"/>
              <a:t>	Recycled material**	Normal material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HEPA / H</a:t>
            </a:r>
            <a:r>
              <a:rPr lang="en-GB" sz="1200" noProof="0"/>
              <a:t>	HEPA filtration (H13 or H14)	Foam/Standard filter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Basic</a:t>
            </a:r>
            <a:r>
              <a:rPr lang="en-GB" sz="1200" noProof="0"/>
              <a:t>	Fixed cord	Detachable cord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endParaRPr lang="en-GB" sz="1200" noProof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X</a:t>
            </a:r>
            <a:r>
              <a:rPr lang="en-GB" sz="1200" noProof="0"/>
              <a:t>	</a:t>
            </a: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X</a:t>
            </a:r>
            <a:r>
              <a:rPr lang="en-GB" sz="1200" noProof="0"/>
              <a:t>tra cord length (e.g. 15m)	10m cord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E</a:t>
            </a:r>
            <a:r>
              <a:rPr lang="en-GB" sz="1200" noProof="0"/>
              <a:t>	</a:t>
            </a: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E</a:t>
            </a:r>
            <a:r>
              <a:rPr lang="en-GB" sz="1200" noProof="0"/>
              <a:t>xt. aluminium tubes	Ext steel tubes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T</a:t>
            </a:r>
            <a:r>
              <a:rPr lang="en-GB" sz="1200" noProof="0"/>
              <a:t>	</a:t>
            </a: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T</a:t>
            </a:r>
            <a:r>
              <a:rPr lang="en-GB" sz="1200" noProof="0"/>
              <a:t>elescopic alu tube	Ext steel tubes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C</a:t>
            </a:r>
            <a:r>
              <a:rPr lang="en-GB" sz="1200" noProof="0"/>
              <a:t>	</a:t>
            </a: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C</a:t>
            </a:r>
            <a:r>
              <a:rPr lang="en-GB" sz="1200" noProof="0"/>
              <a:t>ombi nozzle	Multi surface nozzle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P</a:t>
            </a:r>
            <a:r>
              <a:rPr lang="en-GB" sz="1200" b="1" noProof="0"/>
              <a:t>	</a:t>
            </a: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P</a:t>
            </a:r>
            <a:r>
              <a:rPr lang="en-GB" sz="1200" noProof="0"/>
              <a:t>remium 2K bent-end	Basic bent-end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endParaRPr lang="en-GB" sz="1200" noProof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S2</a:t>
            </a:r>
            <a:r>
              <a:rPr lang="en-GB" sz="1200" noProof="0"/>
              <a:t>	</a:t>
            </a: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2-S</a:t>
            </a:r>
            <a:r>
              <a:rPr lang="en-GB" sz="1200" noProof="0"/>
              <a:t>peed function*	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endParaRPr lang="en-GB" sz="1200" noProof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BP</a:t>
            </a:r>
            <a:r>
              <a:rPr lang="en-GB" sz="1200" noProof="0"/>
              <a:t>	6Ah battery+charger included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en-GB" sz="1200" noProof="0">
                <a:latin typeface="Roboto Bold" panose="02000000000000000000" pitchFamily="2" charset="0"/>
                <a:ea typeface="Roboto Bold" panose="02000000000000000000" pitchFamily="2" charset="0"/>
              </a:rPr>
              <a:t>BP+</a:t>
            </a:r>
            <a:r>
              <a:rPr lang="en-GB" sz="1200" noProof="0"/>
              <a:t>	10Ah battery+charger includ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DBCE83-3482-D693-1F18-1B1C0FFC913B}"/>
              </a:ext>
            </a:extLst>
          </p:cNvPr>
          <p:cNvSpPr txBox="1"/>
          <p:nvPr/>
        </p:nvSpPr>
        <p:spPr>
          <a:xfrm>
            <a:off x="5982559" y="5821660"/>
            <a:ext cx="57300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i="1" noProof="0"/>
              <a:t>** Accessories and speed function not part of battery machine models marketing name (key focus on battery configuration), </a:t>
            </a:r>
            <a:br>
              <a:rPr lang="en-GB" sz="800" i="1" noProof="0"/>
            </a:br>
            <a:r>
              <a:rPr lang="en-GB" sz="800" i="1" noProof="0"/>
              <a:t>but dual speed visible on type plate name; All VP500s are standard 2-speed</a:t>
            </a:r>
            <a:br>
              <a:rPr lang="en-GB" sz="800" i="1" noProof="0"/>
            </a:br>
            <a:r>
              <a:rPr lang="en-GB" sz="800" i="1" noProof="0"/>
              <a:t>** All VP500’s are recycled with same % as VP300 (38%)</a:t>
            </a:r>
          </a:p>
        </p:txBody>
      </p:sp>
    </p:spTree>
    <p:extLst>
      <p:ext uri="{BB962C8B-B14F-4D97-AF65-F5344CB8AC3E}">
        <p14:creationId xmlns:p14="http://schemas.microsoft.com/office/powerpoint/2010/main" val="118934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B1BB43-DCA1-9ECB-150E-A2635EE7E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D7F59-8B99-0CE4-97DE-FA0C28FDA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869442E-AD03-4F28-EF23-D8BF6613661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D0BDD62-72B6-31CA-F3BD-FD818EFC97A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11</a:t>
            </a:fld>
            <a:endParaRPr lang="en-GB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95493F4-DA4D-76B1-5493-1219366B914E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chemeClr val="bg2"/>
                </a:solidFill>
              </a:rPr>
              <a:t>Background &amp; VP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69EFB1F-BEC7-3A62-12C1-0FA5E1370010}"/>
              </a:ext>
            </a:extLst>
          </p:cNvPr>
          <p:cNvSpPr txBox="1">
            <a:spLocks/>
          </p:cNvSpPr>
          <p:nvPr/>
        </p:nvSpPr>
        <p:spPr>
          <a:xfrm>
            <a:off x="1968167" y="2224409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chemeClr val="bg2"/>
                </a:solidFill>
              </a:rPr>
              <a:t>New battery vacuum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30253DB-67ED-A2F1-5580-2E2C61DCF9AE}"/>
              </a:ext>
            </a:extLst>
          </p:cNvPr>
          <p:cNvSpPr txBox="1">
            <a:spLocks/>
          </p:cNvSpPr>
          <p:nvPr/>
        </p:nvSpPr>
        <p:spPr>
          <a:xfrm>
            <a:off x="1968167" y="3066128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Key selling point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A022B260-CBB0-0FEB-E558-6AA3EF44F02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3909410"/>
            <a:ext cx="4710540" cy="698238"/>
          </a:xfrm>
        </p:spPr>
        <p:txBody>
          <a:bodyPr/>
          <a:lstStyle/>
          <a:p>
            <a:r>
              <a:rPr lang="en-GB" noProof="0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A779C277-42E9-5143-E13D-7D4F72ECF915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 noProof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C5FCEEF7-BC35-DCB7-446F-2DEF1CB2AECB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 noProof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ECE92A3A-8976-9F07-C6D2-41E9A25D1255}"/>
              </a:ext>
            </a:extLst>
          </p:cNvPr>
          <p:cNvSpPr txBox="1">
            <a:spLocks/>
          </p:cNvSpPr>
          <p:nvPr/>
        </p:nvSpPr>
        <p:spPr>
          <a:xfrm>
            <a:off x="1117600" y="3914486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cs typeface="Roboto Black"/>
              </a:rPr>
              <a:t>4</a:t>
            </a:r>
            <a:endParaRPr lang="en-GB" noProof="0" dirty="0">
              <a:cs typeface="Roboto Black"/>
            </a:endParaRP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668F9D77-C93C-1CE9-A97B-FC8F2D95CEC7}"/>
              </a:ext>
            </a:extLst>
          </p:cNvPr>
          <p:cNvSpPr txBox="1">
            <a:spLocks/>
          </p:cNvSpPr>
          <p:nvPr/>
        </p:nvSpPr>
        <p:spPr>
          <a:xfrm>
            <a:off x="1117600" y="3085667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>
                <a:cs typeface="Roboto Black"/>
              </a:rPr>
              <a:t>3</a:t>
            </a:r>
            <a:endParaRPr lang="en-GB" noProof="0" dirty="0">
              <a:cs typeface="Roboto Black"/>
            </a:endParaRPr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FBA5ABD4-63F3-09F3-03A7-19E3951F711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199176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370461-1DE0-4EED-9C91-F6699CD31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E9E462E-FF78-46D4-7CE2-BC804686B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3009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E9E462E-FF78-46D4-7CE2-BC804686B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162A602-2A93-34E5-BB1B-4DC7912819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Old vs New (VP500 @upgrade = dark grey coloured area)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F4393F-3757-7BB2-1DDA-4701BC5DE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3</a:t>
            </a:r>
            <a:r>
              <a:rPr lang="en-GB" noProof="0"/>
              <a:t> | VP500 featur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4756A2-C2C1-24A8-EDE8-A17C05B4BF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CBEE95-A886-3793-8A66-A0C1F02A5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12</a:t>
            </a:fld>
            <a:endParaRPr lang="en-GB" noProof="0"/>
          </a:p>
        </p:txBody>
      </p:sp>
      <p:graphicFrame>
        <p:nvGraphicFramePr>
          <p:cNvPr id="10" name="Table 3">
            <a:extLst>
              <a:ext uri="{FF2B5EF4-FFF2-40B4-BE49-F238E27FC236}">
                <a16:creationId xmlns:a16="http://schemas.microsoft.com/office/drawing/2014/main" id="{04B08F06-2D9F-3EB0-936B-17236E153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226809"/>
              </p:ext>
            </p:extLst>
          </p:nvPr>
        </p:nvGraphicFramePr>
        <p:xfrm>
          <a:off x="475521" y="1791511"/>
          <a:ext cx="5220000" cy="407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4472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803528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j-lt"/>
                        </a:rPr>
                        <a:t>Featur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j-lt"/>
                        </a:rPr>
                        <a:t>VP600 B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j-lt"/>
                        </a:rPr>
                        <a:t>VP500 (New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Machine bump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Robust foot-operatable power switch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Tube parking position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HEPA filt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Accessories stora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99128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Compact and Lightweight (smaller footprint and </a:t>
                      </a:r>
                      <a:r>
                        <a:rPr lang="en-GB" sz="900" b="0" noProof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Bold" panose="02000000000000000000" pitchFamily="2" charset="0"/>
                        </a:rPr>
                        <a:t>much lighter</a:t>
                      </a:r>
                      <a:r>
                        <a:rPr lang="en-GB" sz="900" b="0" noProof="0">
                          <a:solidFill>
                            <a:schemeClr val="tx1"/>
                          </a:solidFill>
                          <a:latin typeface="+mn-lt"/>
                          <a:ea typeface="Roboto Bold" panose="02000000000000000000" pitchFamily="2" charset="0"/>
                        </a:rPr>
                        <a:t>)</a:t>
                      </a:r>
                      <a:endParaRPr lang="en-GB" sz="900" b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43714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New light and compact battery serie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800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Prefilter (durability and ensures performance longer (suction-filtration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b="0" kern="1200" noProof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Tool-Free</a:t>
                      </a:r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 HEPA filter access/chan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Live LED interface on machine (battery capacity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409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Ergonomic handle + Ergo latch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48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Highlighted touchpoint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25284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Commercial/professional appearanc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Share multiple parts with VP300/4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963475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B906A683-6B20-34E0-233A-49999AE10F74}"/>
              </a:ext>
            </a:extLst>
          </p:cNvPr>
          <p:cNvSpPr txBox="1"/>
          <p:nvPr/>
        </p:nvSpPr>
        <p:spPr>
          <a:xfrm>
            <a:off x="666035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 noProof="0">
                <a:latin typeface="+mj-lt"/>
              </a:rPr>
              <a:t>VP600 Batte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F44367-6233-B8AC-7FD0-E8897ECC4458}"/>
              </a:ext>
            </a:extLst>
          </p:cNvPr>
          <p:cNvSpPr txBox="1"/>
          <p:nvPr/>
        </p:nvSpPr>
        <p:spPr>
          <a:xfrm>
            <a:off x="9430474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 noProof="0">
                <a:latin typeface="+mj-lt"/>
              </a:rPr>
              <a:t>VP50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C406DA-6BF5-4ECA-8ABD-FFDB5B8518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6466" y="939378"/>
            <a:ext cx="4710516" cy="47105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A093FC7-743C-99E0-6C5C-9A2A36B3D02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9691" y="2395130"/>
            <a:ext cx="2093908" cy="231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20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50977A1-6A21-630F-6090-F24D7F09B7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083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977A1-6A21-630F-6090-F24D7F09B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9AE3FB89-9E20-E861-E7E7-3A78B5E2BA6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2601" y="2423127"/>
            <a:ext cx="2907586" cy="322057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EC82846-FA63-9EB6-7F25-AE9BDC290124}"/>
              </a:ext>
            </a:extLst>
          </p:cNvPr>
          <p:cNvSpPr txBox="1"/>
          <p:nvPr/>
        </p:nvSpPr>
        <p:spPr>
          <a:xfrm>
            <a:off x="7941110" y="5199459"/>
            <a:ext cx="3766415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noProof="0">
                <a:latin typeface="+mj-lt"/>
              </a:rPr>
              <a:t>Cordless freedom and a small footprint</a:t>
            </a:r>
          </a:p>
          <a:p>
            <a:pPr algn="r">
              <a:lnSpc>
                <a:spcPct val="120000"/>
              </a:lnSpc>
            </a:pPr>
            <a:r>
              <a:rPr lang="en-GB" sz="1100" noProof="0"/>
              <a:t>Keep cleaning with no limits – Enabling mobility and efficiency at new heights; ideal in confined spa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116E9-3ED2-7DA7-D625-619858D9A8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DB100-183E-B96C-EDD4-0EC6BD3E670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13</a:t>
            </a:fld>
            <a:endParaRPr lang="en-GB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0C200C-BD2A-935D-6788-51C7FF3E0C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Key selling point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2DD5482-BCFF-8610-CBDA-B28D6EC0A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3</a:t>
            </a:r>
            <a:r>
              <a:rPr lang="en-GB" noProof="0"/>
              <a:t> | VP500 featur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8933E2-0318-DB82-9AAC-5A4443DDFA2C}"/>
              </a:ext>
            </a:extLst>
          </p:cNvPr>
          <p:cNvSpPr txBox="1"/>
          <p:nvPr/>
        </p:nvSpPr>
        <p:spPr>
          <a:xfrm>
            <a:off x="6809172" y="1503438"/>
            <a:ext cx="489835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noProof="0">
                <a:latin typeface="+mj-lt"/>
              </a:rPr>
              <a:t>Compact and light design</a:t>
            </a:r>
          </a:p>
          <a:p>
            <a:pPr algn="r">
              <a:lnSpc>
                <a:spcPct val="120000"/>
              </a:lnSpc>
            </a:pPr>
            <a:r>
              <a:rPr lang="en-GB" sz="1100" noProof="0"/>
              <a:t>Lightweight Professional cordless vacuum </a:t>
            </a:r>
            <a:br>
              <a:rPr lang="en-GB" sz="1100" noProof="0"/>
            </a:br>
            <a:r>
              <a:rPr lang="en-GB" sz="1100" noProof="0"/>
              <a:t>– Among the lightest in class; agile and reducing strain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28D166-F3E6-6716-3AFC-EB4B417F260C}"/>
              </a:ext>
            </a:extLst>
          </p:cNvPr>
          <p:cNvSpPr txBox="1"/>
          <p:nvPr/>
        </p:nvSpPr>
        <p:spPr>
          <a:xfrm>
            <a:off x="475488" y="1706571"/>
            <a:ext cx="365760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100" noProof="0">
                <a:latin typeface="+mj-lt"/>
              </a:rPr>
              <a:t>High performance – almost corded VAC level</a:t>
            </a:r>
            <a:br>
              <a:rPr lang="en-GB" sz="1100" b="0" i="0" u="none" strike="noStrike" noProof="0">
                <a:effectLst/>
              </a:rPr>
            </a:br>
            <a:r>
              <a:rPr lang="en-GB" sz="1100" b="0" i="0" u="none" strike="noStrike" noProof="0">
                <a:effectLst/>
              </a:rPr>
              <a:t>Powerful cordless cleaning; among the best in class</a:t>
            </a:r>
            <a:endParaRPr lang="en-GB" sz="1100" noProof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7466D7-96A8-858A-479C-869BB60AE383}"/>
              </a:ext>
            </a:extLst>
          </p:cNvPr>
          <p:cNvSpPr txBox="1"/>
          <p:nvPr/>
        </p:nvSpPr>
        <p:spPr>
          <a:xfrm>
            <a:off x="7941110" y="3495640"/>
            <a:ext cx="376641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u="sng" noProof="0">
                <a:latin typeface="+mj-lt"/>
              </a:rPr>
              <a:t>LIVE</a:t>
            </a:r>
            <a:r>
              <a:rPr lang="en-GB" sz="1100" noProof="0">
                <a:latin typeface="+mj-lt"/>
              </a:rPr>
              <a:t> battery level indicators</a:t>
            </a:r>
          </a:p>
          <a:p>
            <a:pPr algn="r">
              <a:lnSpc>
                <a:spcPct val="120000"/>
              </a:lnSpc>
            </a:pPr>
            <a:r>
              <a:rPr lang="en-GB" sz="1100" noProof="0"/>
              <a:t>4 LEDs gives an immediate status just by looking back</a:t>
            </a:r>
            <a:r>
              <a:rPr lang="en-GB" sz="1000" i="1" noProof="0"/>
              <a:t>)</a:t>
            </a:r>
            <a:endParaRPr lang="en-GB" sz="1100" i="1" noProof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8C2262-24AD-A663-8D56-33D89D8E1847}"/>
              </a:ext>
            </a:extLst>
          </p:cNvPr>
          <p:cNvSpPr txBox="1"/>
          <p:nvPr/>
        </p:nvSpPr>
        <p:spPr>
          <a:xfrm>
            <a:off x="7960167" y="2590778"/>
            <a:ext cx="3747359" cy="45492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noProof="0">
                <a:latin typeface="+mj-lt"/>
              </a:rPr>
              <a:t>Battery – Battery Management System (BMS)</a:t>
            </a:r>
          </a:p>
          <a:p>
            <a:pPr algn="r">
              <a:lnSpc>
                <a:spcPct val="120000"/>
              </a:lnSpc>
            </a:pPr>
            <a:r>
              <a:rPr lang="en-GB" sz="1050" noProof="0"/>
              <a:t>Protective bat. system controlling voltages, temperatures et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43C182-5EC6-0D9D-70EE-B99A668E562D}"/>
              </a:ext>
            </a:extLst>
          </p:cNvPr>
          <p:cNvSpPr txBox="1"/>
          <p:nvPr/>
        </p:nvSpPr>
        <p:spPr>
          <a:xfrm>
            <a:off x="475488" y="2379118"/>
            <a:ext cx="3840480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 noProof="0">
                <a:latin typeface="+mj-lt"/>
              </a:rPr>
              <a:t>Low quality sound level</a:t>
            </a:r>
          </a:p>
          <a:p>
            <a:pPr>
              <a:lnSpc>
                <a:spcPct val="120000"/>
              </a:lnSpc>
            </a:pPr>
            <a:r>
              <a:rPr lang="en-GB" sz="1100" noProof="0"/>
              <a:t>Best sound level of cordless compact VACs along with </a:t>
            </a:r>
            <a:br>
              <a:rPr lang="en-GB" sz="1100" noProof="0"/>
            </a:br>
            <a:r>
              <a:rPr lang="en-GB" sz="1100" noProof="0"/>
              <a:t>neat soft-start and ramp of speed modes – almost meditat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2C62C3-4B14-7B59-75BF-35670D48BE51}"/>
              </a:ext>
            </a:extLst>
          </p:cNvPr>
          <p:cNvSpPr txBox="1"/>
          <p:nvPr/>
        </p:nvSpPr>
        <p:spPr>
          <a:xfrm>
            <a:off x="7941110" y="4273364"/>
            <a:ext cx="3766415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noProof="0">
                <a:latin typeface="+mj-lt"/>
              </a:rPr>
              <a:t>Certified HEPA filter </a:t>
            </a:r>
          </a:p>
          <a:p>
            <a:pPr algn="r">
              <a:lnSpc>
                <a:spcPct val="120000"/>
              </a:lnSpc>
            </a:pPr>
            <a:r>
              <a:rPr lang="en-GB" sz="1100" noProof="0"/>
              <a:t>Quick, </a:t>
            </a:r>
            <a:r>
              <a:rPr lang="en-GB" sz="1100" u="sng" noProof="0"/>
              <a:t>tool-free</a:t>
            </a:r>
            <a:r>
              <a:rPr lang="en-GB" sz="1100" noProof="0"/>
              <a:t> checks and replacements,</a:t>
            </a:r>
          </a:p>
          <a:p>
            <a:pPr algn="r">
              <a:lnSpc>
                <a:spcPct val="120000"/>
              </a:lnSpc>
            </a:pPr>
            <a:r>
              <a:rPr lang="en-GB" sz="1100" noProof="0"/>
              <a:t> ensuring optimal air quality while saving time</a:t>
            </a:r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6B5C0D09-B626-93A4-6E26-B5DE54627371}"/>
              </a:ext>
            </a:extLst>
          </p:cNvPr>
          <p:cNvCxnSpPr>
            <a:cxnSpLocks/>
          </p:cNvCxnSpPr>
          <p:nvPr/>
        </p:nvCxnSpPr>
        <p:spPr>
          <a:xfrm flipH="1">
            <a:off x="7793893" y="3045702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E06D935-B42D-9B87-5543-66AC89EF42CD}"/>
              </a:ext>
            </a:extLst>
          </p:cNvPr>
          <p:cNvCxnSpPr>
            <a:cxnSpLocks/>
          </p:cNvCxnSpPr>
          <p:nvPr/>
        </p:nvCxnSpPr>
        <p:spPr>
          <a:xfrm>
            <a:off x="475487" y="3045702"/>
            <a:ext cx="3910686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88">
            <a:extLst>
              <a:ext uri="{FF2B5EF4-FFF2-40B4-BE49-F238E27FC236}">
                <a16:creationId xmlns:a16="http://schemas.microsoft.com/office/drawing/2014/main" id="{43CD60BD-8FC8-2ECD-FD41-11AD6BAE3979}"/>
              </a:ext>
            </a:extLst>
          </p:cNvPr>
          <p:cNvCxnSpPr>
            <a:cxnSpLocks/>
          </p:cNvCxnSpPr>
          <p:nvPr/>
        </p:nvCxnSpPr>
        <p:spPr>
          <a:xfrm flipH="1">
            <a:off x="7793893" y="5866043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88">
            <a:extLst>
              <a:ext uri="{FF2B5EF4-FFF2-40B4-BE49-F238E27FC236}">
                <a16:creationId xmlns:a16="http://schemas.microsoft.com/office/drawing/2014/main" id="{4D2BA372-BFC2-C7E7-5E87-CC7F987B9CAF}"/>
              </a:ext>
            </a:extLst>
          </p:cNvPr>
          <p:cNvCxnSpPr>
            <a:cxnSpLocks/>
          </p:cNvCxnSpPr>
          <p:nvPr/>
        </p:nvCxnSpPr>
        <p:spPr>
          <a:xfrm flipH="1">
            <a:off x="7793893" y="2170022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A82238-4C01-2704-5EF6-6F44B45F437F}"/>
              </a:ext>
            </a:extLst>
          </p:cNvPr>
          <p:cNvCxnSpPr>
            <a:cxnSpLocks/>
          </p:cNvCxnSpPr>
          <p:nvPr/>
        </p:nvCxnSpPr>
        <p:spPr>
          <a:xfrm>
            <a:off x="475487" y="2170022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7FFC910-BF2B-0F0E-6A3E-58FAB43B5AAA}"/>
              </a:ext>
            </a:extLst>
          </p:cNvPr>
          <p:cNvSpPr txBox="1"/>
          <p:nvPr/>
        </p:nvSpPr>
        <p:spPr>
          <a:xfrm>
            <a:off x="475487" y="3495640"/>
            <a:ext cx="365760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 noProof="0">
                <a:latin typeface="+mj-lt"/>
              </a:rPr>
              <a:t>Highlighted-coloured touch points</a:t>
            </a:r>
          </a:p>
          <a:p>
            <a:pPr>
              <a:lnSpc>
                <a:spcPct val="120000"/>
              </a:lnSpc>
            </a:pPr>
            <a:r>
              <a:rPr lang="en-GB" sz="1100" noProof="0"/>
              <a:t>Intuitive UI ensures a seamless operation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812A04A-58CA-6A16-F673-2E76FFFBEB5F}"/>
              </a:ext>
            </a:extLst>
          </p:cNvPr>
          <p:cNvCxnSpPr>
            <a:cxnSpLocks/>
          </p:cNvCxnSpPr>
          <p:nvPr/>
        </p:nvCxnSpPr>
        <p:spPr>
          <a:xfrm>
            <a:off x="475487" y="3950349"/>
            <a:ext cx="391068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6235D9D-D5A7-0D74-80B7-828FD9277614}"/>
              </a:ext>
            </a:extLst>
          </p:cNvPr>
          <p:cNvSpPr txBox="1"/>
          <p:nvPr/>
        </p:nvSpPr>
        <p:spPr>
          <a:xfrm>
            <a:off x="475488" y="4476497"/>
            <a:ext cx="365760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 noProof="0">
                <a:latin typeface="+mj-lt"/>
              </a:rPr>
              <a:t>Same interfaces across VACs</a:t>
            </a:r>
          </a:p>
          <a:p>
            <a:pPr>
              <a:lnSpc>
                <a:spcPct val="120000"/>
              </a:lnSpc>
            </a:pPr>
            <a:r>
              <a:rPr lang="en-GB" sz="1100" noProof="0"/>
              <a:t>Bags, filters, accessories shared with VP300 series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E1F0E5A-C5F1-4633-44B9-2DD494F2B184}"/>
              </a:ext>
            </a:extLst>
          </p:cNvPr>
          <p:cNvCxnSpPr>
            <a:cxnSpLocks/>
          </p:cNvCxnSpPr>
          <p:nvPr/>
        </p:nvCxnSpPr>
        <p:spPr>
          <a:xfrm>
            <a:off x="475488" y="4939948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88643C6-96A2-4263-FD3E-7CE1CA7CB332}"/>
              </a:ext>
            </a:extLst>
          </p:cNvPr>
          <p:cNvSpPr txBox="1"/>
          <p:nvPr/>
        </p:nvSpPr>
        <p:spPr>
          <a:xfrm>
            <a:off x="475488" y="5199459"/>
            <a:ext cx="3657600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100" noProof="0">
                <a:latin typeface="+mj-lt"/>
              </a:rPr>
              <a:t>Fast charging enabled and hot-swap for continuous uninterrupted use</a:t>
            </a:r>
            <a:br>
              <a:rPr lang="en-GB" sz="1100" noProof="0"/>
            </a:br>
            <a:r>
              <a:rPr lang="en-GB" sz="1100" noProof="0"/>
              <a:t>Fully charge down to only 60 min*</a:t>
            </a:r>
          </a:p>
        </p:txBody>
      </p:sp>
      <p:cxnSp>
        <p:nvCxnSpPr>
          <p:cNvPr id="83" name="Straight Arrow Connector 88">
            <a:extLst>
              <a:ext uri="{FF2B5EF4-FFF2-40B4-BE49-F238E27FC236}">
                <a16:creationId xmlns:a16="http://schemas.microsoft.com/office/drawing/2014/main" id="{9208A795-773E-5EE8-5941-23F93DCDC447}"/>
              </a:ext>
            </a:extLst>
          </p:cNvPr>
          <p:cNvCxnSpPr>
            <a:cxnSpLocks/>
          </p:cNvCxnSpPr>
          <p:nvPr/>
        </p:nvCxnSpPr>
        <p:spPr>
          <a:xfrm flipH="1">
            <a:off x="7793893" y="3941607"/>
            <a:ext cx="3913632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496FCF13-41BB-1DA6-1CD4-26B116F247D6}"/>
              </a:ext>
            </a:extLst>
          </p:cNvPr>
          <p:cNvCxnSpPr>
            <a:cxnSpLocks/>
          </p:cNvCxnSpPr>
          <p:nvPr/>
        </p:nvCxnSpPr>
        <p:spPr>
          <a:xfrm>
            <a:off x="475488" y="5866043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F44C1FDD-8B92-7735-8CA0-3CB585A6E316}"/>
              </a:ext>
            </a:extLst>
          </p:cNvPr>
          <p:cNvCxnSpPr>
            <a:cxnSpLocks/>
          </p:cNvCxnSpPr>
          <p:nvPr/>
        </p:nvCxnSpPr>
        <p:spPr>
          <a:xfrm flipH="1">
            <a:off x="7793893" y="4939948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66F04D8-6C40-112A-FEB3-EEBC818FAC30}"/>
              </a:ext>
            </a:extLst>
          </p:cNvPr>
          <p:cNvSpPr txBox="1"/>
          <p:nvPr/>
        </p:nvSpPr>
        <p:spPr>
          <a:xfrm>
            <a:off x="499547" y="6027579"/>
            <a:ext cx="5486916" cy="246221"/>
          </a:xfrm>
          <a:prstGeom prst="rect">
            <a:avLst/>
          </a:prstGeom>
          <a:noFill/>
        </p:spPr>
        <p:txBody>
          <a:bodyPr wrap="square" lIns="0" tIns="91440" bIns="0" anchor="b" anchorCtr="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* Approx 90% battery capacity</a:t>
            </a:r>
          </a:p>
        </p:txBody>
      </p:sp>
    </p:spTree>
    <p:extLst>
      <p:ext uri="{BB962C8B-B14F-4D97-AF65-F5344CB8AC3E}">
        <p14:creationId xmlns:p14="http://schemas.microsoft.com/office/powerpoint/2010/main" val="167261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37E58-32D0-9A36-8A7A-7CFF689AF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8A58BB-DA62-6E48-263B-F7FAFFEE16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7282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8A58BB-DA62-6E48-263B-F7FAFFEE1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C3C637-3E04-CAE2-CB2A-73918850E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Selected design details and features | Several identical to VP300 and VP400</a:t>
            </a:r>
            <a:endParaRPr lang="en-GB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F391CC3-F4F2-B2DD-735B-DDB67F337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3</a:t>
            </a:r>
            <a:r>
              <a:rPr lang="en-GB" noProof="0"/>
              <a:t> | VP500 featur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B4F393-38D7-60DB-AD93-FFAF066A4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5E7B77-5BE7-2270-40DB-84C7A3FFAC5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14</a:t>
            </a:fld>
            <a:endParaRPr lang="en-GB" noProof="0"/>
          </a:p>
        </p:txBody>
      </p:sp>
      <p:pic>
        <p:nvPicPr>
          <p:cNvPr id="12" name="Picture 11" descr="A close up of a vacuum&#10;&#10;AI-generated content may be incorrect.">
            <a:extLst>
              <a:ext uri="{FF2B5EF4-FFF2-40B4-BE49-F238E27FC236}">
                <a16:creationId xmlns:a16="http://schemas.microsoft.com/office/drawing/2014/main" id="{027269B0-E785-7DB9-A742-5B2633E1E11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1164" y="2062112"/>
            <a:ext cx="4223815" cy="4356014"/>
          </a:xfrm>
          <a:prstGeom prst="rect">
            <a:avLst/>
          </a:prstGeom>
        </p:spPr>
      </p:pic>
      <p:pic>
        <p:nvPicPr>
          <p:cNvPr id="14" name="Picture 13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0A753B42-4A77-2668-49B4-9F65E75B68C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9146" y="2187592"/>
            <a:ext cx="3786997" cy="4105054"/>
          </a:xfrm>
          <a:prstGeom prst="rect">
            <a:avLst/>
          </a:prstGeom>
        </p:spPr>
      </p:pic>
      <p:pic>
        <p:nvPicPr>
          <p:cNvPr id="16" name="Picture 15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1E3CE192-9A55-F727-57D4-3EC2BBDB23B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2112"/>
            <a:ext cx="3982580" cy="4356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4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D33283-6DE7-C016-47A8-F20E2C907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9E2409D-A8B1-A1B5-563F-E573D61E50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111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9E2409D-A8B1-A1B5-563F-E573D61E5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0D23B56-5E98-8BEF-D6BF-1B223C997E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3781035"/>
          </a:xfrm>
        </p:spPr>
        <p:txBody>
          <a:bodyPr>
            <a:spAutoFit/>
          </a:bodyPr>
          <a:lstStyle/>
          <a:p>
            <a:pPr marL="198755" indent="-198755"/>
            <a:endParaRPr lang="en-GB" noProof="0">
              <a:ea typeface="Roboto Light"/>
              <a:cs typeface="Roboto Light"/>
            </a:endParaRPr>
          </a:p>
          <a:p>
            <a:pPr marL="0" indent="0">
              <a:buNone/>
            </a:pPr>
            <a:r>
              <a:rPr lang="en-GB" noProof="0">
                <a:solidFill>
                  <a:srgbClr val="28313F"/>
                </a:solidFill>
                <a:latin typeface="Roboto Bold"/>
              </a:rPr>
              <a:t>Large durable power switch</a:t>
            </a:r>
            <a:endParaRPr lang="en-GB" noProof="0">
              <a:solidFill>
                <a:srgbClr val="28313F"/>
              </a:solidFill>
              <a:latin typeface="Roboto Bold"/>
              <a:ea typeface="Roboto Bold"/>
              <a:cs typeface="Roboto Bold"/>
            </a:endParaRPr>
          </a:p>
          <a:p>
            <a:pPr marL="171450" lvl="1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200" noProof="0">
                <a:solidFill>
                  <a:srgbClr val="28313F"/>
                </a:solidFill>
              </a:rPr>
              <a:t>Quick UI</a:t>
            </a:r>
            <a:endParaRPr lang="en-GB" sz="1200" noProof="0">
              <a:solidFill>
                <a:srgbClr val="28313F"/>
              </a:solidFill>
              <a:ea typeface="Roboto Light"/>
              <a:cs typeface="Roboto Light"/>
            </a:endParaRPr>
          </a:p>
          <a:p>
            <a:pPr marL="171450" lvl="1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200" noProof="0">
                <a:solidFill>
                  <a:srgbClr val="28313F"/>
                </a:solidFill>
              </a:rPr>
              <a:t>Possible to operate by foot </a:t>
            </a:r>
            <a:endParaRPr lang="en-GB" sz="1200" noProof="0">
              <a:solidFill>
                <a:srgbClr val="28313F"/>
              </a:solidFill>
              <a:ea typeface="Roboto Light"/>
              <a:cs typeface="Roboto Light"/>
            </a:endParaRPr>
          </a:p>
          <a:p>
            <a:pPr marL="171450" lvl="1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200" noProof="0">
                <a:solidFill>
                  <a:srgbClr val="28313F"/>
                </a:solidFill>
              </a:rPr>
              <a:t>Reduced operator strain/injuries</a:t>
            </a:r>
            <a:endParaRPr lang="en-GB" noProof="0"/>
          </a:p>
          <a:p>
            <a:pPr marL="398145" lvl="1" indent="-198755"/>
            <a:endParaRPr lang="en-GB" noProof="0">
              <a:ea typeface="Roboto Light"/>
              <a:cs typeface="Roboto Light"/>
            </a:endParaRPr>
          </a:p>
          <a:p>
            <a:pPr marL="0" indent="0">
              <a:buNone/>
            </a:pPr>
            <a:r>
              <a:rPr lang="en-GB" noProof="0">
                <a:solidFill>
                  <a:srgbClr val="28313F"/>
                </a:solidFill>
                <a:latin typeface="Roboto Bold"/>
              </a:rPr>
              <a:t>‘Live’ LED battery capacity level in front of machine</a:t>
            </a:r>
            <a:endParaRPr lang="en-GB" noProof="0">
              <a:solidFill>
                <a:srgbClr val="28313F"/>
              </a:solidFill>
              <a:latin typeface="Roboto Bold"/>
              <a:ea typeface="Roboto Bold"/>
              <a:cs typeface="Roboto Bold"/>
            </a:endParaRPr>
          </a:p>
          <a:p>
            <a:pPr marL="171450" lvl="1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200" noProof="0">
                <a:solidFill>
                  <a:srgbClr val="28313F"/>
                </a:solidFill>
              </a:rPr>
              <a:t>Fast check by operator </a:t>
            </a:r>
            <a:r>
              <a:rPr lang="en-GB" sz="1200" noProof="0">
                <a:solidFill>
                  <a:srgbClr val="28313F"/>
                </a:solidFill>
                <a:sym typeface="Wingdings" panose="05000000000000000000" pitchFamily="2" charset="2"/>
              </a:rPr>
              <a:t> saves time</a:t>
            </a:r>
            <a:endParaRPr lang="en-GB" sz="1200" noProof="0">
              <a:solidFill>
                <a:srgbClr val="28313F"/>
              </a:solidFill>
            </a:endParaRPr>
          </a:p>
          <a:p>
            <a:pPr marL="171450" lvl="1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200" noProof="0">
                <a:solidFill>
                  <a:srgbClr val="28313F"/>
                </a:solidFill>
              </a:rPr>
              <a:t>On the fly adjustment of cleaning plan/stint if low and </a:t>
            </a:r>
            <a:br>
              <a:rPr lang="en-GB" sz="1200" noProof="0"/>
            </a:br>
            <a:r>
              <a:rPr lang="en-GB" sz="1200" noProof="0">
                <a:solidFill>
                  <a:srgbClr val="28313F"/>
                </a:solidFill>
              </a:rPr>
              <a:t>need to go in direction of charger</a:t>
            </a:r>
            <a:endParaRPr lang="en-GB" noProof="0"/>
          </a:p>
          <a:p>
            <a:pPr marL="398145" lvl="1" indent="-198755"/>
            <a:endParaRPr lang="en-GB" noProof="0">
              <a:ea typeface="Roboto Light"/>
              <a:cs typeface="Roboto Light"/>
            </a:endParaRPr>
          </a:p>
          <a:p>
            <a:pPr marL="0" indent="0">
              <a:buNone/>
            </a:pPr>
            <a:r>
              <a:rPr lang="en-GB" noProof="0">
                <a:solidFill>
                  <a:srgbClr val="28313F"/>
                </a:solidFill>
                <a:latin typeface="Roboto Bold"/>
              </a:rPr>
              <a:t>Standard dual speed possibility </a:t>
            </a:r>
            <a:endParaRPr lang="en-GB" noProof="0">
              <a:solidFill>
                <a:srgbClr val="28313F"/>
              </a:solidFill>
              <a:latin typeface="Roboto Bold"/>
              <a:ea typeface="Roboto Bold"/>
              <a:cs typeface="Roboto Bold"/>
            </a:endParaRPr>
          </a:p>
          <a:p>
            <a:pPr marL="171450" lvl="1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200" noProof="0">
                <a:solidFill>
                  <a:srgbClr val="28313F"/>
                </a:solidFill>
              </a:rPr>
              <a:t>Adjust to the specific customer needs…:</a:t>
            </a:r>
          </a:p>
          <a:p>
            <a:pPr marL="171450" lvl="1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200">
                <a:ea typeface="Roboto Light"/>
                <a:cs typeface="Roboto Light"/>
              </a:rPr>
              <a:t>Quality ramp at speed mode change (and startup – starts in last setting)</a:t>
            </a:r>
          </a:p>
          <a:p>
            <a:pPr marL="171450" lvl="1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endParaRPr lang="en-GB" sz="1200">
              <a:ea typeface="Roboto Light"/>
              <a:cs typeface="Roboto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392D92-D3EE-A2A7-E379-54F4632273B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8EB515-1295-9BAC-2DC2-9C9E83443D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15</a:t>
            </a:fld>
            <a:endParaRPr lang="en-GB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730A73-E730-F025-B78D-AB844D1CF0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Design details | Enhanced UI and ease of use</a:t>
            </a:r>
            <a:endParaRPr lang="en-GB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31C39B-3856-E33A-6B29-587B4507F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3</a:t>
            </a:r>
            <a:r>
              <a:rPr lang="en-GB" noProof="0"/>
              <a:t> | VP500 features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DF1FEB18-4B9C-B2F8-A1D6-4919130267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6402" y="5016598"/>
            <a:ext cx="767848" cy="696197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ED2C63FE-F0D5-E12B-D671-A656F5A94A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306" y="5016598"/>
            <a:ext cx="767847" cy="6961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4B1393F-C5D0-55F5-3E6D-AA43D119A7F0}"/>
              </a:ext>
            </a:extLst>
          </p:cNvPr>
          <p:cNvSpPr txBox="1"/>
          <p:nvPr/>
        </p:nvSpPr>
        <p:spPr>
          <a:xfrm>
            <a:off x="1241612" y="5016598"/>
            <a:ext cx="1614790" cy="590931"/>
          </a:xfrm>
          <a:prstGeom prst="rect">
            <a:avLst/>
          </a:prstGeom>
          <a:noFill/>
        </p:spPr>
        <p:txBody>
          <a:bodyPr wrap="square" lIns="91440" tIns="0" rIns="0" bIns="0">
            <a:spAutoFit/>
          </a:bodyPr>
          <a:lstStyle/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Low speed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xtend run time 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100" i="0" u="none" strike="noStrike" kern="1200" cap="none" spc="0" normalizeH="0" baseline="0" noProof="0">
                <a:ln>
                  <a:noFill/>
                </a:ln>
                <a:solidFill>
                  <a:srgbClr val="68C18B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(Light green LED’s)</a:t>
            </a: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68C18B">
                  <a:lumMod val="60000"/>
                  <a:lumOff val="40000"/>
                </a:srgbClr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895D5-A032-8BDB-23B0-0C488AAFA112}"/>
              </a:ext>
            </a:extLst>
          </p:cNvPr>
          <p:cNvSpPr txBox="1"/>
          <p:nvPr/>
        </p:nvSpPr>
        <p:spPr>
          <a:xfrm>
            <a:off x="3608708" y="5016598"/>
            <a:ext cx="1771522" cy="590931"/>
          </a:xfrm>
          <a:prstGeom prst="rect">
            <a:avLst/>
          </a:prstGeom>
          <a:noFill/>
        </p:spPr>
        <p:txBody>
          <a:bodyPr wrap="square" lIns="91440" tIns="0" rIns="0" bIns="0">
            <a:spAutoFit/>
          </a:bodyPr>
          <a:lstStyle/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High speed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nhance cleaning power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100" i="0" u="none" strike="noStrike" kern="1200" cap="none" spc="0" normalizeH="0" baseline="0" noProof="0">
                <a:ln>
                  <a:noFill/>
                </a:ln>
                <a:solidFill>
                  <a:srgbClr val="68C18B">
                    <a:lumMod val="75000"/>
                  </a:srgbClr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(Dark green LED’s)</a:t>
            </a: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68C18B">
                  <a:lumMod val="75000"/>
                </a:srgbClr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25" name="Picture Placeholder 24" descr="A close up of a blue and black device&#10;&#10;AI-generated content may be incorrect.">
            <a:extLst>
              <a:ext uri="{FF2B5EF4-FFF2-40B4-BE49-F238E27FC236}">
                <a16:creationId xmlns:a16="http://schemas.microsoft.com/office/drawing/2014/main" id="{F82574BE-DFA3-6219-1848-913C9738A07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38" y="0"/>
            <a:ext cx="5986462" cy="62849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04653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BA8AC-405A-93E9-949B-CB68EACF1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2E68412-BCB5-BD46-B4A6-43A39EEAC86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377" y="1412874"/>
            <a:ext cx="8832931" cy="486092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2D6B28-EC36-8B1D-5883-7A194AEDBF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377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2D6B28-EC36-8B1D-5883-7A194AEDBF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A61391-D6DD-878F-A4D3-245FB067AD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Battery installation area | </a:t>
            </a:r>
            <a:r>
              <a:rPr lang="en-GB"/>
              <a:t>In-moulded</a:t>
            </a:r>
            <a:r>
              <a:rPr lang="en-GB" noProof="0"/>
              <a:t> guidance and colour highlighted battery UI ensures easy us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7E11AD-F3F8-E4D0-C8F2-195B36221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3</a:t>
            </a:r>
            <a:r>
              <a:rPr lang="en-GB" noProof="0"/>
              <a:t> | VP500 featur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3E3462-B886-3B49-97AE-30B42026C28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B49ECC-538B-9BE1-20AB-B05CD06DE17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16</a:t>
            </a:fld>
            <a:endParaRPr lang="en-GB" noProof="0"/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66E6FD74-886F-644D-9F8A-B67BBD5C6106}"/>
              </a:ext>
            </a:extLst>
          </p:cNvPr>
          <p:cNvSpPr txBox="1">
            <a:spLocks/>
          </p:cNvSpPr>
          <p:nvPr/>
        </p:nvSpPr>
        <p:spPr>
          <a:xfrm>
            <a:off x="8563739" y="2548597"/>
            <a:ext cx="2428088" cy="1641475"/>
          </a:xfrm>
          <a:prstGeom prst="rect">
            <a:avLst/>
          </a:prstGeom>
        </p:spPr>
        <p:txBody>
          <a:bodyPr vert="horz" wrap="square" lIns="182880" tIns="0" rIns="0" bIns="0" rtlCol="0" anchor="ctr" anchorCtr="0">
            <a:sp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b="0" noProof="0">
                <a:latin typeface="Roboto Light"/>
                <a:ea typeface="Roboto Light"/>
                <a:cs typeface="Roboto Light"/>
              </a:rPr>
              <a:t>Battery </a:t>
            </a:r>
            <a:r>
              <a:rPr lang="en-GB" b="0">
                <a:latin typeface="Roboto Light"/>
                <a:ea typeface="Roboto Light"/>
                <a:cs typeface="Roboto Light"/>
              </a:rPr>
              <a:t>installation area</a:t>
            </a:r>
            <a:endParaRPr lang="en-US"/>
          </a:p>
          <a:p>
            <a:pPr>
              <a:lnSpc>
                <a:spcPct val="100000"/>
              </a:lnSpc>
            </a:pPr>
            <a:endParaRPr lang="en-GB" b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>
              <a:lnSpc>
                <a:spcPct val="100000"/>
              </a:lnSpc>
            </a:pPr>
            <a:br>
              <a:rPr lang="en-GB" b="0" noProof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lang="en-GB" b="0">
                <a:latin typeface="Roboto Light"/>
                <a:ea typeface="Roboto Light"/>
                <a:cs typeface="Roboto Light"/>
              </a:rPr>
              <a:t> Instruction </a:t>
            </a:r>
            <a:r>
              <a:rPr lang="en-GB" b="0" noProof="0">
                <a:latin typeface="Roboto Light"/>
                <a:ea typeface="Roboto Light"/>
                <a:cs typeface="Roboto Light"/>
              </a:rPr>
              <a:t>icons</a:t>
            </a:r>
            <a:endParaRPr lang="en-GB">
              <a:ea typeface="Roboto Bold"/>
              <a:cs typeface="Roboto Bold"/>
            </a:endParaRPr>
          </a:p>
        </p:txBody>
      </p:sp>
      <p:cxnSp>
        <p:nvCxnSpPr>
          <p:cNvPr id="10" name="Straight Arrow Connector 88">
            <a:extLst>
              <a:ext uri="{FF2B5EF4-FFF2-40B4-BE49-F238E27FC236}">
                <a16:creationId xmlns:a16="http://schemas.microsoft.com/office/drawing/2014/main" id="{CF859F24-171E-02A1-B2D3-0BC1AFA615A3}"/>
              </a:ext>
            </a:extLst>
          </p:cNvPr>
          <p:cNvCxnSpPr>
            <a:cxnSpLocks/>
          </p:cNvCxnSpPr>
          <p:nvPr/>
        </p:nvCxnSpPr>
        <p:spPr>
          <a:xfrm flipH="1">
            <a:off x="4988866" y="2819001"/>
            <a:ext cx="366800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88">
            <a:extLst>
              <a:ext uri="{FF2B5EF4-FFF2-40B4-BE49-F238E27FC236}">
                <a16:creationId xmlns:a16="http://schemas.microsoft.com/office/drawing/2014/main" id="{4CA70A0A-A727-D375-6AE3-6AB8C58C3E85}"/>
              </a:ext>
            </a:extLst>
          </p:cNvPr>
          <p:cNvCxnSpPr>
            <a:cxnSpLocks/>
          </p:cNvCxnSpPr>
          <p:nvPr/>
        </p:nvCxnSpPr>
        <p:spPr>
          <a:xfrm flipH="1">
            <a:off x="5352933" y="4038201"/>
            <a:ext cx="3117672" cy="16933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42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2AFB3DDC-5DAB-47E2-C892-5F53E35FB38A}"/>
              </a:ext>
            </a:extLst>
          </p:cNvPr>
          <p:cNvSpPr txBox="1">
            <a:spLocks/>
          </p:cNvSpPr>
          <p:nvPr/>
        </p:nvSpPr>
        <p:spPr>
          <a:xfrm>
            <a:off x="8625840" y="-9525"/>
            <a:ext cx="3566160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288000" tIns="1692000" rIns="432000" bIns="180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noProof="0"/>
              <a:t>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E7F567-7CAF-4649-A5C9-BCABCC908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331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E7F567-7CAF-4649-A5C9-BCABCC908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7A732-1B72-4B7E-9959-3A3F93D9053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18A39-864C-4516-ABEE-1F60AA4863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17</a:t>
            </a:fld>
            <a:endParaRPr lang="en-GB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682-6238-41DE-B84D-6AF9545361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7863840" cy="376456"/>
          </a:xfrm>
        </p:spPr>
        <p:txBody>
          <a:bodyPr/>
          <a:lstStyle/>
          <a:p>
            <a:r>
              <a:rPr lang="en-GB" noProof="0"/>
              <a:t>Bag, prefilter and HEPA | Enhanced serviceability and usability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A0A575-CE3F-4485-91FC-04A222E42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863840" cy="365760"/>
          </a:xfrm>
        </p:spPr>
        <p:txBody>
          <a:bodyPr vert="horz"/>
          <a:lstStyle/>
          <a:p>
            <a:r>
              <a:rPr lang="en-GB"/>
              <a:t>3</a:t>
            </a:r>
            <a:r>
              <a:rPr lang="en-GB" noProof="0"/>
              <a:t> | VP500 features – Filtration</a:t>
            </a:r>
            <a:endParaRPr lang="en-GB" noProof="0">
              <a:solidFill>
                <a:schemeClr val="accent3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6846E0A-04E0-DE92-F99B-D140A3666395}"/>
              </a:ext>
            </a:extLst>
          </p:cNvPr>
          <p:cNvSpPr txBox="1"/>
          <p:nvPr/>
        </p:nvSpPr>
        <p:spPr>
          <a:xfrm>
            <a:off x="4683196" y="6150689"/>
            <a:ext cx="2617038" cy="123111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marL="0" lvl="1" indent="0">
              <a:buNone/>
            </a:pPr>
            <a:r>
              <a:rPr lang="en-GB" sz="800" noProof="0">
                <a:latin typeface="Roboto Light italic" panose="02000000000000000000" pitchFamily="2" charset="0"/>
                <a:ea typeface="Roboto Light italic" panose="02000000000000000000" pitchFamily="2" charset="0"/>
              </a:rPr>
              <a:t>* Majority of range are HEPA configured models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7B4EE0B-81AA-1703-1A11-0113D9C5F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4132" y="1825760"/>
            <a:ext cx="3442323" cy="1936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A white round object with blue handle&#10;&#10;Description automatically generated">
            <a:extLst>
              <a:ext uri="{FF2B5EF4-FFF2-40B4-BE49-F238E27FC236}">
                <a16:creationId xmlns:a16="http://schemas.microsoft.com/office/drawing/2014/main" id="{2BF77AD8-6428-D23C-4C1C-91C19F24C02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504" y="1775605"/>
            <a:ext cx="2737807" cy="2105104"/>
          </a:xfrm>
          <a:prstGeom prst="rect">
            <a:avLst/>
          </a:prstGeom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F30303C9-84EB-047E-C7F7-334D37E782C9}"/>
              </a:ext>
            </a:extLst>
          </p:cNvPr>
          <p:cNvSpPr txBox="1">
            <a:spLocks/>
          </p:cNvSpPr>
          <p:nvPr/>
        </p:nvSpPr>
        <p:spPr>
          <a:xfrm>
            <a:off x="4526652" y="4013746"/>
            <a:ext cx="3624367" cy="183717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300"/>
              </a:spcBef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HEPA filter</a:t>
            </a:r>
          </a:p>
          <a:p>
            <a:pPr marL="173355" lvl="1" indent="-173355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000" noProof="0" dirty="0">
                <a:solidFill>
                  <a:srgbClr val="000000"/>
                </a:solidFill>
                <a:latin typeface="Roboto Light"/>
              </a:rPr>
              <a:t>Grip point and colour-highlighted </a:t>
            </a:r>
            <a:r>
              <a:rPr lang="en-GB" sz="1000" noProof="0" dirty="0">
                <a:solidFill>
                  <a:srgbClr val="000000"/>
                </a:solidFill>
                <a:latin typeface="Roboto Light"/>
                <a:sym typeface="Wingdings" panose="05000000000000000000" pitchFamily="2" charset="2"/>
              </a:rPr>
              <a:t></a:t>
            </a:r>
            <a:r>
              <a:rPr lang="en-GB" sz="1000" noProof="0" dirty="0">
                <a:solidFill>
                  <a:srgbClr val="000000"/>
                </a:solidFill>
                <a:latin typeface="Roboto Light"/>
              </a:rPr>
              <a:t> </a:t>
            </a:r>
            <a:r>
              <a:rPr lang="en-GB" sz="1000" dirty="0">
                <a:solidFill>
                  <a:srgbClr val="000000"/>
                </a:solidFill>
                <a:latin typeface="Roboto Light"/>
              </a:rPr>
              <a:t>optimising</a:t>
            </a:r>
            <a:r>
              <a:rPr lang="en-GB" sz="1000" noProof="0" dirty="0">
                <a:solidFill>
                  <a:srgbClr val="000000"/>
                </a:solidFill>
                <a:latin typeface="Roboto Light"/>
              </a:rPr>
              <a:t> usability and time </a:t>
            </a:r>
            <a:endParaRPr lang="en-GB" sz="1000" noProof="0" dirty="0">
              <a:solidFill>
                <a:srgbClr val="000000"/>
              </a:solidFill>
              <a:latin typeface="Roboto Light"/>
              <a:ea typeface="Roboto Light"/>
              <a:cs typeface="Roboto Light"/>
            </a:endParaRPr>
          </a:p>
          <a:p>
            <a:pPr marL="173355" lvl="1" indent="-173355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000" noProof="0" dirty="0">
                <a:solidFill>
                  <a:srgbClr val="000000"/>
                </a:solidFill>
                <a:latin typeface="Roboto Light"/>
                <a:sym typeface="Wingdings" panose="05000000000000000000" pitchFamily="2" charset="2"/>
              </a:rPr>
              <a:t>NO tools to access/change</a:t>
            </a:r>
            <a:endParaRPr lang="en-GB" sz="1000" noProof="0" dirty="0">
              <a:solidFill>
                <a:srgbClr val="000000"/>
              </a:solidFill>
              <a:latin typeface="Roboto Light"/>
              <a:ea typeface="Roboto Light"/>
              <a:cs typeface="Roboto Light"/>
            </a:endParaRPr>
          </a:p>
          <a:p>
            <a:pPr marL="173355" lvl="1" indent="-173355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000" noProof="0" dirty="0">
                <a:solidFill>
                  <a:srgbClr val="000000"/>
                </a:solidFill>
                <a:latin typeface="Roboto Light"/>
                <a:sym typeface="Wingdings" panose="05000000000000000000" pitchFamily="2" charset="2"/>
              </a:rPr>
              <a:t>Ensuring good and healthy air quality</a:t>
            </a:r>
            <a:endParaRPr lang="en-GB" sz="1000" noProof="0" dirty="0">
              <a:solidFill>
                <a:srgbClr val="000000"/>
              </a:solidFill>
              <a:latin typeface="Roboto Light"/>
              <a:ea typeface="Roboto Light"/>
              <a:cs typeface="Roboto Light"/>
            </a:endParaRPr>
          </a:p>
          <a:p>
            <a:pPr marL="365760" lvl="1" indent="-18288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n-GB" sz="1000" noProof="0" dirty="0">
                <a:solidFill>
                  <a:srgbClr val="28313F"/>
                </a:solidFill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Catching small health risk particles </a:t>
            </a:r>
            <a:endParaRPr lang="en-GB" sz="1000" noProof="0" dirty="0">
              <a:solidFill>
                <a:srgbClr val="28313F"/>
              </a:solidFill>
              <a:latin typeface="Roboto Light"/>
              <a:ea typeface="Roboto Light"/>
              <a:cs typeface="+mn-lt"/>
            </a:endParaRPr>
          </a:p>
          <a:p>
            <a:pPr marL="365760" lvl="1" indent="-18288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n-GB" sz="1000" noProof="0" dirty="0">
                <a:solidFill>
                  <a:srgbClr val="28313F"/>
                </a:solidFill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HEPA 13 or HEPA 14*; </a:t>
            </a:r>
            <a:endParaRPr lang="en-GB" sz="1000" noProof="0" dirty="0">
              <a:solidFill>
                <a:srgbClr val="28313F"/>
              </a:solidFill>
              <a:latin typeface="Roboto Light"/>
              <a:ea typeface="Roboto Light"/>
              <a:cs typeface="+mn-lt"/>
            </a:endParaRPr>
          </a:p>
          <a:p>
            <a:pPr marL="365760" lvl="1" indent="-18288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n-GB" sz="1000" noProof="0" dirty="0">
                <a:solidFill>
                  <a:srgbClr val="28313F"/>
                </a:solidFill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U</a:t>
            </a:r>
            <a:r>
              <a:rPr lang="en-GB" sz="1000" noProof="0" dirty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sed for whole Nilfisk Commercial VAC compact </a:t>
            </a:r>
            <a:r>
              <a:rPr lang="en-GB" sz="1000" dirty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dry vacuum range</a:t>
            </a:r>
            <a:r>
              <a:rPr lang="en-GB" sz="1000" noProof="0" dirty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:  VP300, VP400, VP500 and </a:t>
            </a:r>
            <a:r>
              <a:rPr lang="en-GB" sz="1000" dirty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VP7000</a:t>
            </a:r>
            <a:endParaRPr lang="en-GB" sz="1000" noProof="0" dirty="0">
              <a:solidFill>
                <a:srgbClr val="28313F"/>
              </a:solidFill>
              <a:latin typeface="Roboto Light"/>
              <a:ea typeface="Roboto Light"/>
              <a:cs typeface="+mn-lt"/>
            </a:endParaRP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8B0533D3-6BAC-7285-5DB6-1E87666D74A6}"/>
              </a:ext>
            </a:extLst>
          </p:cNvPr>
          <p:cNvSpPr txBox="1">
            <a:spLocks/>
          </p:cNvSpPr>
          <p:nvPr/>
        </p:nvSpPr>
        <p:spPr>
          <a:xfrm>
            <a:off x="475521" y="4013746"/>
            <a:ext cx="3624367" cy="1467838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>
              <a:lnSpc>
                <a:spcPct val="120000"/>
              </a:lnSpc>
              <a:spcBef>
                <a:spcPts val="300"/>
              </a:spcBef>
              <a:buNone/>
              <a:tabLst>
                <a:tab pos="2867025" algn="l"/>
              </a:tabLst>
              <a:defRPr/>
            </a:pPr>
            <a:r>
              <a:rPr lang="en-GB" noProof="0">
                <a:solidFill>
                  <a:srgbClr val="28313F"/>
                </a:solidFill>
                <a:latin typeface="Roboto Bold"/>
              </a:rPr>
              <a:t>Prefilter (sack)</a:t>
            </a:r>
          </a:p>
          <a:p>
            <a:pPr marL="173736" lvl="1" indent="-173736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000" noProof="0">
                <a:solidFill>
                  <a:srgbClr val="000000"/>
                </a:solidFill>
                <a:latin typeface="Roboto Light"/>
              </a:rPr>
              <a:t>Quick and easy inspection/change</a:t>
            </a:r>
          </a:p>
          <a:p>
            <a:pPr marL="365760" lvl="1" indent="-18288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n-GB" sz="1000" noProof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Highlighted-colour touch point UI</a:t>
            </a:r>
          </a:p>
          <a:p>
            <a:pPr marL="365760" lvl="1" indent="-18288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n-GB" sz="1000" noProof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PN and illustrations/guidance </a:t>
            </a:r>
          </a:p>
          <a:p>
            <a:pPr marL="365760" lvl="1" indent="-18288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n-GB" sz="1000" noProof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Convenient Improved tolerance/usability</a:t>
            </a:r>
          </a:p>
          <a:p>
            <a:pPr marL="173736" lvl="1" indent="-173736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000" noProof="0">
                <a:solidFill>
                  <a:srgbClr val="000000"/>
                </a:solidFill>
                <a:latin typeface="Roboto Light"/>
              </a:rPr>
              <a:t>Protects machine</a:t>
            </a:r>
          </a:p>
          <a:p>
            <a:pPr marL="173736" lvl="1" indent="-173736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n-GB" sz="1000" noProof="0">
                <a:solidFill>
                  <a:srgbClr val="000000"/>
                </a:solidFill>
                <a:latin typeface="Roboto Light"/>
              </a:rPr>
              <a:t>Same across VP300, VP400 and VP500</a:t>
            </a:r>
          </a:p>
        </p:txBody>
      </p:sp>
      <p:pic>
        <p:nvPicPr>
          <p:cNvPr id="18" name="Picture 17" descr="A black and grey vacuum cleaner&#10;&#10;AI-generated content may be incorrect.">
            <a:extLst>
              <a:ext uri="{FF2B5EF4-FFF2-40B4-BE49-F238E27FC236}">
                <a16:creationId xmlns:a16="http://schemas.microsoft.com/office/drawing/2014/main" id="{12A40C3D-2083-8BC0-1687-BBDFCDBF82C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3872" y="1621631"/>
            <a:ext cx="3471725" cy="352901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B9CBFC0-D8FF-2212-A0EF-80292DE01F30}"/>
              </a:ext>
            </a:extLst>
          </p:cNvPr>
          <p:cNvCxnSpPr>
            <a:cxnSpLocks/>
          </p:cNvCxnSpPr>
          <p:nvPr/>
        </p:nvCxnSpPr>
        <p:spPr>
          <a:xfrm>
            <a:off x="4265546" y="1911350"/>
            <a:ext cx="0" cy="4371975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997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4E94A-EA51-9977-28C8-2E5A819DB8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54F9C-45FA-AD35-8AC5-CD824AEC5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2D568540-B686-BD46-858A-EB5CAD2DA492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942AC8A-D6FF-DC8F-1A51-A28F33ACB49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18</a:t>
            </a:fld>
            <a:endParaRPr lang="en-GB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B7CFC2E-EE7C-8DBF-19DA-5910700C90CB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chemeClr val="bg2"/>
                </a:solidFill>
              </a:rPr>
              <a:t>Background &amp; VP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1279CB5E-FFB3-FF23-4BC7-36B69C1F2020}"/>
              </a:ext>
            </a:extLst>
          </p:cNvPr>
          <p:cNvSpPr txBox="1">
            <a:spLocks/>
          </p:cNvSpPr>
          <p:nvPr/>
        </p:nvSpPr>
        <p:spPr>
          <a:xfrm>
            <a:off x="1968167" y="2224409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chemeClr val="bg2"/>
                </a:solidFill>
              </a:rPr>
              <a:t>New battery vacuum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0B4A01B0-4AEC-29BC-B07F-5B8A18A6F6CC}"/>
              </a:ext>
            </a:extLst>
          </p:cNvPr>
          <p:cNvSpPr txBox="1">
            <a:spLocks/>
          </p:cNvSpPr>
          <p:nvPr/>
        </p:nvSpPr>
        <p:spPr>
          <a:xfrm>
            <a:off x="1968167" y="3066128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chemeClr val="bg2"/>
                </a:solidFill>
              </a:rPr>
              <a:t>Key selling point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5B28A76-E573-9284-6FDF-C06E08DAC1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3909410"/>
            <a:ext cx="4710540" cy="698238"/>
          </a:xfrm>
        </p:spPr>
        <p:txBody>
          <a:bodyPr/>
          <a:lstStyle/>
          <a:p>
            <a:r>
              <a:rPr lang="en-GB" noProof="0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4847CB41-94B2-F293-CD34-BFE157AF2E82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 noProof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809B57A-A84E-100B-3CE2-1323DC7E69E6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04C14F97-38F8-CAD2-0100-B61DE0B89066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3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EA3133A2-5361-BBD5-E21F-B61C8C07E14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3917616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GB">
                <a:latin typeface="Roboto Black"/>
                <a:ea typeface="Roboto Black"/>
                <a:cs typeface="Roboto Black"/>
              </a:rPr>
              <a:t>4</a:t>
            </a:r>
            <a:endParaRPr lang="en-GB" noProof="0"/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3E712961-768A-093B-6244-0F6F53ABEBD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203977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D891B4F-19A4-1A3C-324E-A0C919EBEC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9253" y="2726295"/>
            <a:ext cx="4430486" cy="36149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ED17A55-F412-25F4-5C92-CA0A0A64ED5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23383" y="2726294"/>
            <a:ext cx="4068618" cy="36149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001E23-D0E7-5A9A-50A7-E45946331C3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886928"/>
            <a:ext cx="5487629" cy="4605554"/>
          </a:xfrm>
          <a:prstGeom prst="rect">
            <a:avLst/>
          </a:prstGeom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B783081-F029-D284-A14D-902E3DAC5F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905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1" imgH="411" progId="TCLayout.ActiveDocument.1">
                  <p:embed/>
                </p:oleObj>
              </mc:Choice>
              <mc:Fallback>
                <p:oleObj name="think-cell Slide" r:id="rId8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83081-F029-D284-A14D-902E3DAC5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ABD03-BC24-0F94-F290-AE8D115137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NBP series | Scalable battery power in a compact forma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3C4B78-7321-871D-5721-A0C6122A52E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GB"/>
              <a:t>4</a:t>
            </a:r>
            <a:r>
              <a:rPr lang="en-GB" noProof="0"/>
              <a:t> | New battery plat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860F6A-8662-41A8-9065-EB80FF0A47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 lang="en-GB" noProof="0" smtClean="0"/>
              <a:pPr algn="l" rtl="0"/>
              <a:t>19</a:t>
            </a:fld>
            <a:endParaRPr lang="en-GB" noProof="0"/>
          </a:p>
        </p:txBody>
      </p:sp>
      <p:sp>
        <p:nvSpPr>
          <p:cNvPr id="7" name="TextBox 6"/>
          <p:cNvSpPr txBox="1"/>
          <p:nvPr/>
        </p:nvSpPr>
        <p:spPr>
          <a:xfrm>
            <a:off x="2114720" y="2645609"/>
            <a:ext cx="929527" cy="2728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600" noProof="0"/>
              <a:t>Combat 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2ECD93-1B29-464B-9709-00D7C73ABC4D}"/>
              </a:ext>
            </a:extLst>
          </p:cNvPr>
          <p:cNvSpPr txBox="1"/>
          <p:nvPr/>
        </p:nvSpPr>
        <p:spPr>
          <a:xfrm>
            <a:off x="7458652" y="2674193"/>
            <a:ext cx="187574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600" noProof="0">
                <a:latin typeface="+mj-lt"/>
              </a:rPr>
              <a:t>NBP series</a:t>
            </a:r>
          </a:p>
          <a:p>
            <a:pPr marL="0" marR="0" lvl="0" indent="0" algn="l" defTabSz="102396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</a:rPr>
              <a:t>NBP60</a:t>
            </a:r>
          </a:p>
          <a:p>
            <a:pPr>
              <a:defRPr/>
            </a:pPr>
            <a:r>
              <a:rPr lang="en-GB" sz="1600" noProof="0"/>
              <a:t>NBP100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6CB106FD-2B2C-4852-862F-CC1B8E8AA911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noProof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5F2FDFB-6768-0BF2-FCD8-AC4D9A465472}"/>
              </a:ext>
            </a:extLst>
          </p:cNvPr>
          <p:cNvCxnSpPr>
            <a:cxnSpLocks/>
          </p:cNvCxnSpPr>
          <p:nvPr/>
        </p:nvCxnSpPr>
        <p:spPr>
          <a:xfrm>
            <a:off x="3264150" y="2800064"/>
            <a:ext cx="3888178" cy="0"/>
          </a:xfrm>
          <a:prstGeom prst="line">
            <a:avLst/>
          </a:prstGeom>
          <a:ln w="15875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15">
            <a:extLst>
              <a:ext uri="{FF2B5EF4-FFF2-40B4-BE49-F238E27FC236}">
                <a16:creationId xmlns:a16="http://schemas.microsoft.com/office/drawing/2014/main" id="{16EF871F-42C4-9E0D-178E-1A45D35B4302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noProof="0">
                <a:solidFill>
                  <a:schemeClr val="bg2"/>
                </a:solidFill>
              </a:rPr>
              <a:t>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7761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2</a:t>
            </a:fld>
            <a:endParaRPr lang="en-GB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2D3E4B3-1331-58A8-0AAF-0238313BD7F9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Background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963E1DD2-FEBA-FF56-5DC4-A9C57C152DFB}"/>
              </a:ext>
            </a:extLst>
          </p:cNvPr>
          <p:cNvSpPr txBox="1">
            <a:spLocks/>
          </p:cNvSpPr>
          <p:nvPr/>
        </p:nvSpPr>
        <p:spPr>
          <a:xfrm>
            <a:off x="1968167" y="2224409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New battery vacuum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1F7A799E-8580-D4E4-B60C-790DDCC4822F}"/>
              </a:ext>
            </a:extLst>
          </p:cNvPr>
          <p:cNvSpPr txBox="1">
            <a:spLocks/>
          </p:cNvSpPr>
          <p:nvPr/>
        </p:nvSpPr>
        <p:spPr>
          <a:xfrm>
            <a:off x="1968167" y="3066128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Key selling point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AF07C625-CD1F-45D9-8898-3B1E1315065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3899641"/>
            <a:ext cx="4710540" cy="698238"/>
          </a:xfrm>
        </p:spPr>
        <p:txBody>
          <a:bodyPr/>
          <a:lstStyle/>
          <a:p>
            <a:r>
              <a:rPr lang="en-GB" noProof="0"/>
              <a:t>Other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7544968F-8D7D-AE60-853B-913CA1110C8A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499F038F-991A-4D0A-26AF-1BB8A15AE07F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 noProof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97F23277-13D1-5340-5949-5210D88EE010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 noProof="0"/>
              <a:t>3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D0398B8-2FCE-3C77-7FFE-3471787D2140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 noProof="0"/>
              <a:t>4</a:t>
            </a:r>
          </a:p>
        </p:txBody>
      </p:sp>
      <p:pic>
        <p:nvPicPr>
          <p:cNvPr id="72" name="Picture Placeholder 71">
            <a:extLst>
              <a:ext uri="{FF2B5EF4-FFF2-40B4-BE49-F238E27FC236}">
                <a16:creationId xmlns:a16="http://schemas.microsoft.com/office/drawing/2014/main" id="{E3EBD5EF-F8F2-5C2D-A3A2-6DBBC70CBDC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29719" y="-72337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18446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3">
            <a:extLst>
              <a:ext uri="{FF2B5EF4-FFF2-40B4-BE49-F238E27FC236}">
                <a16:creationId xmlns:a16="http://schemas.microsoft.com/office/drawing/2014/main" id="{587C109D-FE63-ADD9-D1D0-747CE8CAC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454712"/>
              </p:ext>
            </p:extLst>
          </p:nvPr>
        </p:nvGraphicFramePr>
        <p:xfrm>
          <a:off x="475521" y="1335024"/>
          <a:ext cx="5669280" cy="21153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3487306242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j-lt"/>
                        </a:rPr>
                        <a:t>Specifications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j-lt"/>
                        </a:rPr>
                        <a:t>Combat 1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j-lt"/>
                        </a:rPr>
                        <a:t>NBP6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j-lt"/>
                        </a:rPr>
                        <a:t>NBP10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  <a:latin typeface="+mn-lt"/>
                        </a:rPr>
                        <a:t>Power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V Li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V Li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V Li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Battery capacity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7,8 Ah</a:t>
                      </a:r>
                      <a:b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en-GB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GB" sz="7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80Wh</a:t>
                      </a:r>
                      <a:r>
                        <a:rPr kumimoji="0" lang="en-GB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)</a:t>
                      </a:r>
                      <a:endParaRPr kumimoji="0" lang="en-GB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6,0 Ah</a:t>
                      </a:r>
                      <a:b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en-GB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GB" sz="7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6Wh</a:t>
                      </a:r>
                      <a:r>
                        <a:rPr kumimoji="0" lang="en-GB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)</a:t>
                      </a:r>
                      <a:endParaRPr kumimoji="0" lang="en-GB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0,0 Ah</a:t>
                      </a:r>
                      <a:b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en-GB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GB" sz="7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0Wh</a:t>
                      </a:r>
                      <a:r>
                        <a:rPr kumimoji="0" lang="en-GB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)</a:t>
                      </a:r>
                      <a:endParaRPr kumimoji="0" lang="en-GB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  <a:latin typeface="+mn-lt"/>
                        </a:rPr>
                        <a:t>Weight (kg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  <a:latin typeface="+mn-lt"/>
                        </a:rPr>
                        <a:t>Dimensions LxWxH (mm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40x160x7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x130x73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x130x73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  <a:latin typeface="+mn-lt"/>
                        </a:rPr>
                        <a:t>Charger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noProof="0">
                          <a:solidFill>
                            <a:schemeClr val="tx1"/>
                          </a:solidFill>
                          <a:latin typeface="+mn-lt"/>
                        </a:rPr>
                        <a:t>Fast charger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ast charger </a:t>
                      </a:r>
                      <a:b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ast charger </a:t>
                      </a:r>
                      <a:b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991286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0170" y="0"/>
            <a:ext cx="5361829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GB" noProof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3CB34F-170A-8CE4-E0C8-98CF5C7DA74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30170" y="311654"/>
            <a:ext cx="5361830" cy="5909852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554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20</a:t>
            </a:fld>
            <a:endParaRPr lang="en-GB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Tech specs of </a:t>
            </a:r>
            <a:r>
              <a:rPr lang="en-GB" noProof="0">
                <a:ea typeface="Roboto Light"/>
              </a:rPr>
              <a:t>NBP series vs predecessor</a:t>
            </a:r>
            <a:endParaRPr lang="en-GB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4</a:t>
            </a:r>
            <a:r>
              <a:rPr lang="en-GB" noProof="0"/>
              <a:t> | New battery platform</a:t>
            </a:r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>
            <a:cxnSpLocks/>
          </p:cNvCxnSpPr>
          <p:nvPr/>
        </p:nvCxnSpPr>
        <p:spPr>
          <a:xfrm flipV="1">
            <a:off x="9768248" y="4042657"/>
            <a:ext cx="1110112" cy="476903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1021261" y="2791707"/>
            <a:ext cx="0" cy="971549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712224" y="3344157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10106787" y="4501035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30 mm 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5.11 in</a:t>
            </a: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514058" y="4037449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83 mm / </a:t>
            </a:r>
            <a:b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7.20 in</a:t>
            </a: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973413" y="3196602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73 mm / </a:t>
            </a:r>
            <a:b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2.87 i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BF51C4C-C811-CF48-5AE8-603BD4A014CB}"/>
              </a:ext>
            </a:extLst>
          </p:cNvPr>
          <p:cNvSpPr txBox="1"/>
          <p:nvPr/>
        </p:nvSpPr>
        <p:spPr>
          <a:xfrm>
            <a:off x="6830170" y="5769338"/>
            <a:ext cx="4882406" cy="513987"/>
          </a:xfrm>
          <a:prstGeom prst="rect">
            <a:avLst/>
          </a:prstGeom>
          <a:noFill/>
        </p:spPr>
        <p:txBody>
          <a:bodyPr wrap="square" lIns="219456" bIns="219456" anchor="b" anchorCtr="0">
            <a:spAutoFit/>
          </a:bodyPr>
          <a:lstStyle/>
          <a:p>
            <a:pPr>
              <a:defRPr/>
            </a:pPr>
            <a:r>
              <a:rPr lang="en-GB" sz="800" i="1" noProof="0">
                <a:ea typeface="Roboto Light"/>
                <a:cs typeface="Roboto Light"/>
              </a:rPr>
              <a:t>NBP60 visuals – same physical footprint(size) and interface as NBP100</a:t>
            </a:r>
            <a:br>
              <a:rPr lang="en-GB" sz="800" i="1" noProof="0">
                <a:ea typeface="Roboto Light"/>
                <a:cs typeface="Roboto Light"/>
              </a:rPr>
            </a:br>
            <a:r>
              <a:rPr lang="en-GB" sz="800" i="1" noProof="0">
                <a:ea typeface="Roboto Light"/>
                <a:cs typeface="Roboto Light"/>
              </a:rPr>
              <a:t>– More details in specific NBP present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65B3BA-4F0C-D510-1BA4-91B3BFC54D03}"/>
              </a:ext>
            </a:extLst>
          </p:cNvPr>
          <p:cNvSpPr txBox="1"/>
          <p:nvPr/>
        </p:nvSpPr>
        <p:spPr>
          <a:xfrm>
            <a:off x="475521" y="3450336"/>
            <a:ext cx="5510942" cy="172354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endParaRPr lang="en-GB" sz="1200" i="1" noProof="0">
              <a:ea typeface="Roboto Light"/>
              <a:cs typeface="Roboto Light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n-GB" sz="1200" i="1" noProof="0">
                <a:ea typeface="Roboto Light"/>
                <a:cs typeface="Roboto Light"/>
              </a:rPr>
              <a:t>Lighter weight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n-GB" sz="1200" i="1" noProof="0">
                <a:ea typeface="Roboto Light"/>
                <a:cs typeface="Roboto Light"/>
              </a:rPr>
              <a:t>More compact and scalable design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n-GB" sz="1200" i="1" noProof="0">
                <a:ea typeface="Roboto Light"/>
                <a:cs typeface="Roboto Light"/>
              </a:rPr>
              <a:t>Increased UX and UI </a:t>
            </a:r>
            <a:r>
              <a:rPr lang="en-GB" sz="1200" i="1" noProof="0">
                <a:ea typeface="Roboto Light"/>
                <a:cs typeface="Roboto Light"/>
                <a:sym typeface="Wingdings" panose="05000000000000000000" pitchFamily="2" charset="2"/>
              </a:rPr>
              <a:t> </a:t>
            </a:r>
            <a:r>
              <a:rPr lang="en-GB" sz="1200" i="1" noProof="0">
                <a:ea typeface="Roboto Light"/>
                <a:cs typeface="Roboto Light"/>
              </a:rPr>
              <a:t>grip on top and coloured release button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n-GB" sz="1200" i="1" noProof="0">
                <a:ea typeface="Roboto Light"/>
                <a:cs typeface="Roboto Light"/>
              </a:rPr>
              <a:t>Enhanced positioning </a:t>
            </a:r>
            <a:r>
              <a:rPr lang="en-GB" sz="1200" i="1" noProof="0">
                <a:ea typeface="Roboto Light"/>
                <a:cs typeface="Roboto Light"/>
                <a:sym typeface="Wingdings" panose="05000000000000000000" pitchFamily="2" charset="2"/>
              </a:rPr>
              <a:t> scalability; difference performance/price levels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n-GB" sz="1200" i="1" noProof="0">
                <a:ea typeface="Roboto Light"/>
                <a:cs typeface="Roboto Light"/>
                <a:sym typeface="Wingdings" panose="05000000000000000000" pitchFamily="2" charset="2"/>
              </a:rPr>
              <a:t>Notification/warning LED on battery (triangle)</a:t>
            </a:r>
            <a:endParaRPr lang="en-GB" sz="1200" i="1" noProof="0"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20342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CD67AD-D593-CC3F-0869-BC025BA75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D165A09-4C05-1C6A-7C78-8065D5E416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2936511"/>
            <a:ext cx="6226037" cy="392149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E6B442-E57C-417D-8B9B-24974A7E61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0170" y="0"/>
            <a:ext cx="5361829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GB" noProof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C0B8D6-8BE8-5697-0382-8D2E1E0FFC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30170" y="779928"/>
            <a:ext cx="5361830" cy="5026717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A7BD3E55-ED3C-F29A-97C8-50EC633D6B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425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A7BD3E55-ED3C-F29A-97C8-50EC633D6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7308856-AEFE-3D23-714C-A772510E542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17F1F7B-F349-3D9D-692E-C93A6FDABB0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21</a:t>
            </a:fld>
            <a:endParaRPr lang="en-GB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AC9FAA4-CFD2-101D-1E70-A01C40B0D7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Tech specs of </a:t>
            </a:r>
            <a:r>
              <a:rPr lang="en-GB" noProof="0">
                <a:ea typeface="Roboto Light"/>
              </a:rPr>
              <a:t>the new charger; NBC215</a:t>
            </a:r>
            <a:endParaRPr lang="en-GB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DC27E3BF-DF8B-A291-BB4E-E2DDF0892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887" y="484713"/>
            <a:ext cx="7862850" cy="388013"/>
          </a:xfrm>
        </p:spPr>
        <p:txBody>
          <a:bodyPr vert="horz"/>
          <a:lstStyle/>
          <a:p>
            <a:r>
              <a:rPr lang="en-GB"/>
              <a:t>4</a:t>
            </a:r>
            <a:r>
              <a:rPr lang="en-GB" noProof="0"/>
              <a:t> | New battery platform</a:t>
            </a:r>
          </a:p>
        </p:txBody>
      </p:sp>
      <p:cxnSp>
        <p:nvCxnSpPr>
          <p:cNvPr id="4" name="Google Shape;117;p28">
            <a:extLst>
              <a:ext uri="{FF2B5EF4-FFF2-40B4-BE49-F238E27FC236}">
                <a16:creationId xmlns:a16="http://schemas.microsoft.com/office/drawing/2014/main" id="{FBF27F0E-69B9-C58C-EF8F-878413516E3C}"/>
              </a:ext>
            </a:extLst>
          </p:cNvPr>
          <p:cNvCxnSpPr>
            <a:cxnSpLocks/>
          </p:cNvCxnSpPr>
          <p:nvPr/>
        </p:nvCxnSpPr>
        <p:spPr>
          <a:xfrm flipV="1">
            <a:off x="9477506" y="4034279"/>
            <a:ext cx="1446865" cy="603624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7" name="Google Shape;118;p28">
            <a:extLst>
              <a:ext uri="{FF2B5EF4-FFF2-40B4-BE49-F238E27FC236}">
                <a16:creationId xmlns:a16="http://schemas.microsoft.com/office/drawing/2014/main" id="{BB9D0729-6DBF-2604-BD65-69BED5E700DA}"/>
              </a:ext>
            </a:extLst>
          </p:cNvPr>
          <p:cNvCxnSpPr>
            <a:cxnSpLocks/>
          </p:cNvCxnSpPr>
          <p:nvPr/>
        </p:nvCxnSpPr>
        <p:spPr>
          <a:xfrm>
            <a:off x="11015684" y="2882720"/>
            <a:ext cx="0" cy="85161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10" name="Google Shape;119;p28">
            <a:extLst>
              <a:ext uri="{FF2B5EF4-FFF2-40B4-BE49-F238E27FC236}">
                <a16:creationId xmlns:a16="http://schemas.microsoft.com/office/drawing/2014/main" id="{3714ED22-3DC2-3170-82A0-922E10C0DE86}"/>
              </a:ext>
            </a:extLst>
          </p:cNvPr>
          <p:cNvCxnSpPr>
            <a:cxnSpLocks/>
          </p:cNvCxnSpPr>
          <p:nvPr/>
        </p:nvCxnSpPr>
        <p:spPr>
          <a:xfrm>
            <a:off x="7382479" y="3497499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12" name="Google Shape;120;p28">
            <a:extLst>
              <a:ext uri="{FF2B5EF4-FFF2-40B4-BE49-F238E27FC236}">
                <a16:creationId xmlns:a16="http://schemas.microsoft.com/office/drawing/2014/main" id="{BF9212B0-DB00-8B88-EF39-8231CCC8CAAE}"/>
              </a:ext>
            </a:extLst>
          </p:cNvPr>
          <p:cNvSpPr/>
          <p:nvPr/>
        </p:nvSpPr>
        <p:spPr>
          <a:xfrm rot="21598889">
            <a:off x="10040690" y="4518331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89 mm 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7.44 in</a:t>
            </a:r>
          </a:p>
        </p:txBody>
      </p:sp>
      <p:sp>
        <p:nvSpPr>
          <p:cNvPr id="14" name="Google Shape;121;p28">
            <a:extLst>
              <a:ext uri="{FF2B5EF4-FFF2-40B4-BE49-F238E27FC236}">
                <a16:creationId xmlns:a16="http://schemas.microsoft.com/office/drawing/2014/main" id="{82874251-53AF-7CA6-A8B7-B40BC0B10C3A}"/>
              </a:ext>
            </a:extLst>
          </p:cNvPr>
          <p:cNvSpPr/>
          <p:nvPr/>
        </p:nvSpPr>
        <p:spPr>
          <a:xfrm>
            <a:off x="7205957" y="4183008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211 mm / </a:t>
            </a:r>
            <a:b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8.30 in</a:t>
            </a:r>
          </a:p>
        </p:txBody>
      </p:sp>
      <p:sp>
        <p:nvSpPr>
          <p:cNvPr id="21" name="Google Shape;122;p28">
            <a:extLst>
              <a:ext uri="{FF2B5EF4-FFF2-40B4-BE49-F238E27FC236}">
                <a16:creationId xmlns:a16="http://schemas.microsoft.com/office/drawing/2014/main" id="{3FD37C9A-4326-153A-B0E3-73B5241C50D9}"/>
              </a:ext>
            </a:extLst>
          </p:cNvPr>
          <p:cNvSpPr/>
          <p:nvPr/>
        </p:nvSpPr>
        <p:spPr>
          <a:xfrm rot="21598889">
            <a:off x="10972800" y="3200400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81 mm / </a:t>
            </a:r>
            <a:b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.18 in</a:t>
            </a:r>
          </a:p>
        </p:txBody>
      </p:sp>
      <p:graphicFrame>
        <p:nvGraphicFramePr>
          <p:cNvPr id="22" name="Table 3">
            <a:extLst>
              <a:ext uri="{FF2B5EF4-FFF2-40B4-BE49-F238E27FC236}">
                <a16:creationId xmlns:a16="http://schemas.microsoft.com/office/drawing/2014/main" id="{7533B533-94B8-A6B1-5BF0-D5C7C38E83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938522"/>
              </p:ext>
            </p:extLst>
          </p:nvPr>
        </p:nvGraphicFramePr>
        <p:xfrm>
          <a:off x="475521" y="1330045"/>
          <a:ext cx="4886310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774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595536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j-lt"/>
                        </a:rPr>
                        <a:t>Specifications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j-lt"/>
                        </a:rPr>
                        <a:t>NBC215 36V fast charger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Battery platform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36V NBP series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Charging current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Max. 5A</a:t>
                      </a:r>
                      <a:endParaRPr kumimoji="0" lang="en-GB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Power supply (V/hz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00-240 / 50-6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161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3457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Charging time (approx. min) </a:t>
                      </a:r>
                      <a:r>
                        <a:rPr lang="en-GB" sz="900" b="0" noProof="0">
                          <a:solidFill>
                            <a:schemeClr val="tx1"/>
                          </a:solidFill>
                          <a:latin typeface="+mj-lt"/>
                        </a:rPr>
                        <a:t>NBP60</a:t>
                      </a:r>
                      <a:r>
                        <a:rPr lang="en-GB" sz="900" b="1" noProof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– 80% / 90% / 100%</a:t>
                      </a:r>
                      <a:endParaRPr lang="en-GB" sz="900" b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55 / 65 / 8</a:t>
                      </a:r>
                      <a:r>
                        <a:rPr kumimoji="0" lang="en-DK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0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Charging time (approx. min) </a:t>
                      </a:r>
                      <a:r>
                        <a:rPr lang="en-GB" sz="9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BP100</a:t>
                      </a:r>
                      <a:r>
                        <a:rPr lang="en-GB" sz="900" b="1" noProof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– 80% / 90% / 100%</a:t>
                      </a:r>
                      <a:endParaRPr lang="en-GB" sz="900" b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 / 10</a:t>
                      </a:r>
                      <a:r>
                        <a:rPr kumimoji="0" lang="en-DK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/ 13</a:t>
                      </a:r>
                      <a:r>
                        <a:rPr kumimoji="0" lang="en-DK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GB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906519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Weight (kg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47751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noProof="0">
                          <a:solidFill>
                            <a:schemeClr val="tx1"/>
                          </a:solidFill>
                        </a:rPr>
                        <a:t>Dimensions LxWxH (mm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211x189x81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7001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F515BF-CA25-2E1C-A7BC-0BF225B96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44C6B89-DA5D-3F14-7859-16B89BD393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939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4C6B89-DA5D-3F14-7859-16B89BD39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251FE8-BA87-5588-B963-52D3CD05BFF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 lang="en-GB" noProof="0" smtClean="0"/>
              <a:pPr algn="l" rtl="0"/>
              <a:t>22</a:t>
            </a:fld>
            <a:endParaRPr lang="en-GB" noProof="0"/>
          </a:p>
        </p:txBody>
      </p:sp>
      <p:pic>
        <p:nvPicPr>
          <p:cNvPr id="2" name="Pladsholder til indhold 1" descr="Et billede, der indeholder container, karton, pap, Emballage&#10;&#10;AI-genereret indhold kan være ukorrekt.">
            <a:extLst>
              <a:ext uri="{FF2B5EF4-FFF2-40B4-BE49-F238E27FC236}">
                <a16:creationId xmlns:a16="http://schemas.microsoft.com/office/drawing/2014/main" id="{474F07E6-FFB0-67DA-0037-3752D04BECA8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2139" y="1510158"/>
            <a:ext cx="3983370" cy="4610837"/>
          </a:xfrm>
          <a:prstGeom prst="rect">
            <a:avLst/>
          </a:prstGeom>
          <a:solidFill>
            <a:srgbClr val="FFFFFF"/>
          </a:solidFill>
          <a:effectLst>
            <a:outerShdw blurRad="139700" sx="102000" sy="102000" algn="ctr" rotWithShape="0">
              <a:srgbClr val="B3BBC5">
                <a:alpha val="30000"/>
              </a:srgbClr>
            </a:outerShdw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830CAB-FEAA-C483-713A-7CDCF27A95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New improved machine box artwork | Better presence at showrooms/dealers and quick view of KSP’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FA7AD1-EE6C-1218-7CE5-69910A5C2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4</a:t>
            </a:r>
            <a:r>
              <a:rPr lang="en-GB" noProof="0"/>
              <a:t> | Packaging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76A64508-3536-A599-B9B9-531E15B948CD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noProof="0"/>
          </a:p>
        </p:txBody>
      </p:sp>
      <p:sp>
        <p:nvSpPr>
          <p:cNvPr id="5" name="Footer Placeholder 15">
            <a:extLst>
              <a:ext uri="{FF2B5EF4-FFF2-40B4-BE49-F238E27FC236}">
                <a16:creationId xmlns:a16="http://schemas.microsoft.com/office/drawing/2014/main" id="{874F0A2F-15B9-073F-C10E-A566303DE90C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noProof="0">
                <a:solidFill>
                  <a:schemeClr val="bg2"/>
                </a:solidFill>
              </a:rPr>
              <a:t>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295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3F603-9904-06F5-2847-1413E2B9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8A05BA5-EAD3-B0B6-341B-13CC6E0878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380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A05BA5-EAD3-B0B6-341B-13CC6E087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egnaposto contenuto 14">
            <a:extLst>
              <a:ext uri="{FF2B5EF4-FFF2-40B4-BE49-F238E27FC236}">
                <a16:creationId xmlns:a16="http://schemas.microsoft.com/office/drawing/2014/main" id="{477CA8EE-10A8-D349-BE58-1177478EB6A2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51460" y="1422320"/>
            <a:ext cx="2586038" cy="4360113"/>
          </a:xfrm>
        </p:spPr>
        <p:txBody>
          <a:bodyPr vert="horz" lIns="216000" tIns="864000" rIns="180000" bIns="216000" rtlCol="0" anchor="t">
            <a:normAutofit fontScale="85000" lnSpcReduction="10000"/>
          </a:bodyPr>
          <a:lstStyle/>
          <a:p>
            <a:pPr marL="198755" indent="-198755"/>
            <a:r>
              <a:rPr lang="en-GB" sz="1400" noProof="0"/>
              <a:t>4 x Social media posts –</a:t>
            </a:r>
          </a:p>
          <a:p>
            <a:pPr marL="198755" indent="-198755"/>
            <a:r>
              <a:rPr lang="en-GB" sz="1400" noProof="0"/>
              <a:t>Web banners</a:t>
            </a:r>
          </a:p>
          <a:p>
            <a:pPr marL="198755" indent="-198755"/>
            <a:r>
              <a:rPr lang="en-GB" noProof="0"/>
              <a:t>Roll up banner showing VP400 and VP500</a:t>
            </a:r>
          </a:p>
          <a:p>
            <a:pPr marL="198755" indent="-198755"/>
            <a:r>
              <a:rPr lang="en-GB" noProof="0"/>
              <a:t>Battery one-pager</a:t>
            </a:r>
          </a:p>
          <a:p>
            <a:pPr marL="198755" indent="-198755"/>
            <a:r>
              <a:rPr lang="en-GB" sz="1400" noProof="0"/>
              <a:t>Product signs</a:t>
            </a:r>
            <a:endParaRPr lang="en-GB" noProof="0"/>
          </a:p>
          <a:p>
            <a:pPr marL="198755" indent="-198755"/>
            <a:r>
              <a:rPr lang="en-GB" sz="1400" noProof="0"/>
              <a:t>Product renderings</a:t>
            </a:r>
            <a:endParaRPr lang="en-GB" sz="1400" noProof="0">
              <a:ea typeface="Roboto Light"/>
              <a:cs typeface="Roboto Light"/>
            </a:endParaRPr>
          </a:p>
          <a:p>
            <a:pPr marL="198755" indent="-198755"/>
            <a:r>
              <a:rPr lang="en-GB" sz="1400" noProof="0"/>
              <a:t>Location pictures</a:t>
            </a:r>
            <a:endParaRPr lang="en-GB" sz="1400" noProof="0">
              <a:ea typeface="Roboto Light"/>
              <a:cs typeface="Roboto Light"/>
            </a:endParaRPr>
          </a:p>
          <a:p>
            <a:pPr marL="198755" indent="-198755"/>
            <a:r>
              <a:rPr lang="en-GB" sz="1400" noProof="0"/>
              <a:t>Sales and promo video</a:t>
            </a:r>
            <a:endParaRPr lang="en-GB" sz="1400" noProof="0">
              <a:ea typeface="Roboto Light"/>
              <a:cs typeface="Roboto Light"/>
            </a:endParaRPr>
          </a:p>
          <a:p>
            <a:pPr marL="198755" indent="-198755"/>
            <a:r>
              <a:rPr lang="en-GB" sz="1400" noProof="0"/>
              <a:t>Brochure </a:t>
            </a:r>
            <a:endParaRPr lang="en-GB" sz="1400" noProof="0">
              <a:ea typeface="Roboto Light"/>
              <a:cs typeface="Roboto Light"/>
            </a:endParaRPr>
          </a:p>
          <a:p>
            <a:pPr marL="198755" indent="-198755"/>
            <a:r>
              <a:rPr lang="en-GB" sz="1400" noProof="0"/>
              <a:t>Fact sheet </a:t>
            </a:r>
            <a:endParaRPr lang="en-GB" sz="1400" noProof="0">
              <a:ea typeface="Roboto Light"/>
              <a:cs typeface="Roboto Light"/>
            </a:endParaRPr>
          </a:p>
          <a:p>
            <a:pPr marL="198755" indent="-198755"/>
            <a:r>
              <a:rPr lang="en-GB" sz="1400" noProof="0"/>
              <a:t>External presentation</a:t>
            </a:r>
            <a:endParaRPr lang="en-GB" sz="1400" noProof="0">
              <a:ea typeface="Roboto Light"/>
              <a:cs typeface="Roboto Light"/>
            </a:endParaRPr>
          </a:p>
          <a:p>
            <a:pPr marL="198755" indent="-198755"/>
            <a:r>
              <a:rPr lang="en-GB" sz="1400" i="1" noProof="0"/>
              <a:t>Recommended part list [R&amp;D]</a:t>
            </a:r>
            <a:endParaRPr lang="en-GB" sz="1400" noProof="0"/>
          </a:p>
          <a:p>
            <a:pPr marL="198755" indent="-198755"/>
            <a:r>
              <a:rPr lang="en-GB" sz="1400" i="1" noProof="0"/>
              <a:t>User manual [R&amp;D]</a:t>
            </a:r>
            <a:endParaRPr lang="en-GB" sz="1400" noProof="0"/>
          </a:p>
          <a:p>
            <a:pPr marL="198755" indent="-198755"/>
            <a:r>
              <a:rPr lang="en-GB" sz="1400" i="1" noProof="0"/>
              <a:t>Main data file [GPM]</a:t>
            </a:r>
            <a:endParaRPr lang="en-GB" sz="1400" noProof="0"/>
          </a:p>
          <a:p>
            <a:pPr marL="198755" indent="-198755"/>
            <a:r>
              <a:rPr lang="en-GB" sz="1400" i="1" noProof="0"/>
              <a:t>Service manual [Service mng]</a:t>
            </a:r>
            <a:endParaRPr lang="en-GB" sz="1400" noProof="0"/>
          </a:p>
          <a:p>
            <a:pPr marL="198755" indent="-198755"/>
            <a:endParaRPr lang="en-GB" i="1" noProof="0">
              <a:ea typeface="Roboto Light"/>
              <a:cs typeface="Roboto Light"/>
            </a:endParaRP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D8F42587-1589-2838-50E6-C5C7CEA789B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1460" y="1455044"/>
            <a:ext cx="2586038" cy="775354"/>
          </a:xfrm>
        </p:spPr>
        <p:txBody>
          <a:bodyPr/>
          <a:lstStyle/>
          <a:p>
            <a:r>
              <a:rPr lang="en-GB" noProof="0"/>
              <a:t>Dealer package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6268390-21C3-A069-F2BE-87A910B613E6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719C6F3-BC51-DB33-7BE3-E62B4AE3B49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23</a:t>
            </a:fld>
            <a:endParaRPr lang="en-GB" noProof="0"/>
          </a:p>
        </p:txBody>
      </p:sp>
      <p:sp>
        <p:nvSpPr>
          <p:cNvPr id="7" name="Titolo 6">
            <a:extLst>
              <a:ext uri="{FF2B5EF4-FFF2-40B4-BE49-F238E27FC236}">
                <a16:creationId xmlns:a16="http://schemas.microsoft.com/office/drawing/2014/main" id="{D9253751-C38E-6CE4-9B6D-F6B8A630B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4</a:t>
            </a:r>
            <a:r>
              <a:rPr lang="en-GB" noProof="0" dirty="0"/>
              <a:t> | Marketing </a:t>
            </a:r>
            <a:r>
              <a:rPr lang="en-GB" dirty="0"/>
              <a:t> Dealer </a:t>
            </a:r>
            <a:r>
              <a:rPr lang="en-GB"/>
              <a:t>Package</a:t>
            </a:r>
            <a:endParaRPr lang="en-GB" noProof="0" dirty="0">
              <a:ea typeface="Roboto Bold"/>
              <a:cs typeface="Roboto Bold"/>
            </a:endParaRPr>
          </a:p>
        </p:txBody>
      </p:sp>
    </p:spTree>
    <p:extLst>
      <p:ext uri="{BB962C8B-B14F-4D97-AF65-F5344CB8AC3E}">
        <p14:creationId xmlns:p14="http://schemas.microsoft.com/office/powerpoint/2010/main" val="1051334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62D33-2D02-3F19-744F-DD48C4D91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10C155-DC61-9133-ECF3-0DB3BC15DC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10C155-DC61-9133-ECF3-0DB3BC15D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E35A547-AE01-3C89-3B36-E8ACC9B507B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05963" y="1763713"/>
            <a:ext cx="2586037" cy="776287"/>
          </a:xfrm>
        </p:spPr>
        <p:txBody>
          <a:bodyPr/>
          <a:lstStyle/>
          <a:p>
            <a:r>
              <a:rPr lang="en-GB" noProof="0"/>
              <a:t>Nilfisk to dealers</a:t>
            </a: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6B28E8AF-58A5-55F7-490D-D9F0ED032BE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05963" y="1797050"/>
            <a:ext cx="2586037" cy="774700"/>
          </a:xfrm>
        </p:spPr>
        <p:txBody>
          <a:bodyPr/>
          <a:lstStyle/>
          <a:p>
            <a:r>
              <a:rPr lang="en-GB" noProof="0"/>
              <a:t>Dealer package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8BD0A1D-F244-3BDA-A756-B6BF70FF9F68}"/>
              </a:ext>
            </a:extLst>
          </p:cNvPr>
          <p:cNvSpPr txBox="1"/>
          <p:nvPr/>
        </p:nvSpPr>
        <p:spPr>
          <a:xfrm>
            <a:off x="6738151" y="3429000"/>
            <a:ext cx="1633492" cy="2374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98755" indent="0" algn="l">
              <a:lnSpc>
                <a:spcPct val="200000"/>
              </a:lnSpc>
              <a:spcBef>
                <a:spcPts val="0"/>
              </a:spcBef>
              <a:buNone/>
            </a:pPr>
            <a:endParaRPr lang="en-GB" sz="1600" b="1" noProof="0">
              <a:latin typeface="+mj-lt"/>
              <a:ea typeface="Roboto Ligh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1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8C20A-4CDC-D149-FF7A-5EEC25F8D1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E5650-89F2-7E8E-A4CA-509AF845E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9791CA9-B249-F610-DE45-34431A95D05A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D83479B-3BA7-102D-FB1A-261482403A4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3</a:t>
            </a:fld>
            <a:endParaRPr lang="en-GB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C482A00-E068-8584-E1D1-589CB9E8976C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Background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C8F2A2EA-CD24-FA1D-D971-0C276BABD709}"/>
              </a:ext>
            </a:extLst>
          </p:cNvPr>
          <p:cNvSpPr txBox="1">
            <a:spLocks/>
          </p:cNvSpPr>
          <p:nvPr/>
        </p:nvSpPr>
        <p:spPr>
          <a:xfrm>
            <a:off x="1968167" y="2224409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chemeClr val="bg2"/>
                </a:solidFill>
              </a:rPr>
              <a:t>New battery vacuum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CE1D753-B742-8C15-9042-BEDFDC7F5135}"/>
              </a:ext>
            </a:extLst>
          </p:cNvPr>
          <p:cNvSpPr txBox="1">
            <a:spLocks/>
          </p:cNvSpPr>
          <p:nvPr/>
        </p:nvSpPr>
        <p:spPr>
          <a:xfrm>
            <a:off x="1968167" y="3085667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chemeClr val="bg2"/>
                </a:solidFill>
              </a:rPr>
              <a:t>Key selling point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995CF2D-4494-1505-B22C-9FD212E9466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3899641"/>
            <a:ext cx="4710540" cy="698238"/>
          </a:xfrm>
        </p:spPr>
        <p:txBody>
          <a:bodyPr/>
          <a:lstStyle/>
          <a:p>
            <a:r>
              <a:rPr lang="en-GB" noProof="0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AEAD9FC6-4EE4-9B13-56A1-9A712F264384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CFBEE14E-9B8F-7926-B1F0-D725DE31F4CA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3A3EFA88-ED1D-4F36-87CE-448E8B498E0D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3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6112F21-DFA7-1D57-A36C-CDAED48096D2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4</a:t>
            </a:r>
          </a:p>
        </p:txBody>
      </p:sp>
      <p:pic>
        <p:nvPicPr>
          <p:cNvPr id="7" name="Picture Placeholder 6" descr="A person vacuuming a couch&#10;&#10;AI-generated content may be incorrect.">
            <a:extLst>
              <a:ext uri="{FF2B5EF4-FFF2-40B4-BE49-F238E27FC236}">
                <a16:creationId xmlns:a16="http://schemas.microsoft.com/office/drawing/2014/main" id="{6D1E5C95-9A65-A1E6-73D4-115009F7C61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0509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BECE291-7003-8008-295B-6B2ADC597B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ECE291-7003-8008-295B-6B2ADC597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7B0EC586-773A-8E31-3D2A-37136B34C4D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7BE7E09D-9282-BDDF-6D69-228F65299D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noProof="0" dirty="0"/>
              <a:t>As a part of the second wave of the Compact Dry </a:t>
            </a:r>
            <a:r>
              <a:rPr lang="en-GB" dirty="0"/>
              <a:t>Vacuum</a:t>
            </a:r>
            <a:r>
              <a:rPr lang="en-GB" noProof="0" dirty="0"/>
              <a:t> portfolio renewal, an extension of the VP300 series and visual identity, hereby introducing the new </a:t>
            </a:r>
            <a:r>
              <a:rPr lang="en-GB" noProof="0" dirty="0">
                <a:latin typeface="+mj-lt"/>
              </a:rPr>
              <a:t>Nilfisk VP500</a:t>
            </a:r>
            <a:r>
              <a:rPr lang="en-GB" noProof="0" dirty="0"/>
              <a:t>.</a:t>
            </a:r>
          </a:p>
          <a:p>
            <a:pPr marL="0" indent="0">
              <a:buNone/>
            </a:pPr>
            <a:endParaRPr lang="en-GB" noProof="0"/>
          </a:p>
          <a:p>
            <a:pPr marL="0" indent="0">
              <a:buNone/>
            </a:pPr>
            <a:r>
              <a:rPr lang="en-GB" noProof="0" dirty="0"/>
              <a:t>A cordless Commercial dry vacuum targeted to be a significant player within the battery-driven compact class. The previous unit of Nilfisk lacked on several parameters; cost, performance, size, weight – Here you’ll get game changing power combined with a base that provides </a:t>
            </a:r>
            <a:br>
              <a:rPr lang="en-GB" noProof="0" dirty="0"/>
            </a:br>
            <a:r>
              <a:rPr lang="en-GB" noProof="0" dirty="0"/>
              <a:t>a real competitive edge.</a:t>
            </a:r>
            <a:endParaRPr lang="en-GB" noProof="0" dirty="0">
              <a:ea typeface="Roboto Light"/>
              <a:cs typeface="Roboto Light"/>
            </a:endParaRPr>
          </a:p>
          <a:p>
            <a:pPr marL="0" indent="0">
              <a:buNone/>
            </a:pPr>
            <a:endParaRPr lang="en-GB" noProof="0"/>
          </a:p>
          <a:p>
            <a:pPr marL="0" indent="0">
              <a:buNone/>
            </a:pPr>
            <a:r>
              <a:rPr lang="en-GB" noProof="0" dirty="0">
                <a:latin typeface="+mj-lt"/>
              </a:rPr>
              <a:t>VP500</a:t>
            </a:r>
            <a:endParaRPr lang="en-GB" noProof="0" dirty="0">
              <a:latin typeface="+mj-lt"/>
              <a:ea typeface="Roboto Bold"/>
              <a:cs typeface="Roboto Bold"/>
            </a:endParaRPr>
          </a:p>
          <a:p>
            <a:pPr marL="200660" lvl="1" indent="-200660">
              <a:buFont typeface="Arial" panose="020B0604020202020204" pitchFamily="34" charset="0"/>
              <a:buChar char="•"/>
            </a:pPr>
            <a:r>
              <a:rPr lang="en-GB" sz="1200" noProof="0" dirty="0"/>
              <a:t>Freedom taken to another level – despite the battery and large practical filling capacity vs. size; it’s extremely compact and lightweight.</a:t>
            </a:r>
            <a:endParaRPr lang="en-GB" sz="1200" noProof="0" dirty="0">
              <a:ea typeface="Roboto Light"/>
              <a:cs typeface="Roboto Light"/>
            </a:endParaRPr>
          </a:p>
          <a:p>
            <a:pPr marL="200660" lvl="1" indent="-200660">
              <a:buFont typeface="Arial" panose="020B0604020202020204" pitchFamily="34" charset="0"/>
              <a:buChar char="•"/>
            </a:pPr>
            <a:r>
              <a:rPr lang="en-GB" sz="1200" noProof="0" dirty="0"/>
              <a:t>Among the most silent cordless vacuums in its class – yet the most efficient</a:t>
            </a:r>
            <a:endParaRPr lang="en-GB" sz="1200" noProof="0" dirty="0">
              <a:ea typeface="Roboto Light"/>
              <a:cs typeface="Roboto Light"/>
            </a:endParaRPr>
          </a:p>
          <a:p>
            <a:pPr marL="200660" lvl="1" indent="-200660">
              <a:buFont typeface="Arial" panose="020B0604020202020204" pitchFamily="34" charset="0"/>
              <a:buChar char="•"/>
            </a:pPr>
            <a:r>
              <a:rPr lang="en-GB" sz="1200" noProof="0" dirty="0"/>
              <a:t>Intuitive use with highlighted UI – </a:t>
            </a:r>
            <a:r>
              <a:rPr lang="en-GB" sz="1200" i="1" u="sng" noProof="0" dirty="0"/>
              <a:t>live</a:t>
            </a:r>
            <a:r>
              <a:rPr lang="en-GB" sz="1200" noProof="0" dirty="0"/>
              <a:t> and </a:t>
            </a:r>
            <a:r>
              <a:rPr lang="en-GB" sz="1200" i="1" u="sng" noProof="0" dirty="0"/>
              <a:t>quick</a:t>
            </a:r>
            <a:r>
              <a:rPr lang="en-GB" sz="1200" noProof="0" dirty="0"/>
              <a:t> battery level inspection </a:t>
            </a:r>
            <a:br>
              <a:rPr lang="en-GB" sz="1200" noProof="0" dirty="0"/>
            </a:br>
            <a:r>
              <a:rPr lang="en-GB" sz="1200" noProof="0" dirty="0"/>
              <a:t>(front of machine)</a:t>
            </a:r>
            <a:endParaRPr lang="en-GB" sz="1200" noProof="0" dirty="0">
              <a:ea typeface="Roboto Light"/>
              <a:cs typeface="Roboto Light"/>
            </a:endParaRPr>
          </a:p>
          <a:p>
            <a:pPr marL="200660" lvl="1" indent="-200660">
              <a:buFont typeface="Arial" panose="020B0604020202020204" pitchFamily="34" charset="0"/>
              <a:buChar char="•"/>
            </a:pPr>
            <a:r>
              <a:rPr lang="en-GB" sz="1200" noProof="0" dirty="0"/>
              <a:t>Fast charge enabled and hot-swap ready battery for continuous use</a:t>
            </a:r>
            <a:endParaRPr lang="en-GB" sz="1200" noProof="0" dirty="0">
              <a:ea typeface="Roboto Light"/>
              <a:cs typeface="Roboto Light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 noProof="0"/>
          </a:p>
          <a:p>
            <a:pPr marL="0" indent="0">
              <a:buNone/>
            </a:pPr>
            <a:r>
              <a:rPr lang="en-GB" noProof="0" dirty="0"/>
              <a:t>With this cordless phenomenon, it complements the Commercial vacuum range of Nilfisk compact dry </a:t>
            </a:r>
            <a:r>
              <a:rPr lang="en-GB" dirty="0"/>
              <a:t>vacuums</a:t>
            </a:r>
            <a:r>
              <a:rPr lang="en-GB" noProof="0" dirty="0"/>
              <a:t> remarkably well.</a:t>
            </a:r>
            <a:endParaRPr lang="en-GB" noProof="0" dirty="0">
              <a:ea typeface="Roboto Light"/>
              <a:cs typeface="Roboto Light"/>
            </a:endParaRP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DCD1D9E-61DF-C6D8-D09A-2E9E3BAF8D5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4</a:t>
            </a:fld>
            <a:endParaRPr lang="en-GB" noProof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87511F4D-091A-D5EA-3481-512E07AE8B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VP500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8C5DED-08B7-C2AE-3585-5619CDE0B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1 | Background 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4C874DFA-11DD-2219-74C9-5FE34405955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7092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9E80AA6-C8BD-FEF5-2A31-122F342890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5898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80AA6-C8BD-FEF5-2A31-122F3428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C3BC2-CD46-F5AC-9A2F-615629BD81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B1C8C-E160-42EB-07B2-8B9843319EA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34BA2B4-1083-357E-3701-8B92912B9A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NextGen professional colour strategy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DE3105-E8FC-9506-059D-CB83AEEEF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1 | Background – Brand &amp; Design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D99E1E8-297C-830D-92A3-5E97A12A7FC6}"/>
              </a:ext>
            </a:extLst>
          </p:cNvPr>
          <p:cNvGrpSpPr/>
          <p:nvPr/>
        </p:nvGrpSpPr>
        <p:grpSpPr>
          <a:xfrm>
            <a:off x="486872" y="2930954"/>
            <a:ext cx="732916" cy="968740"/>
            <a:chOff x="571715" y="2789281"/>
            <a:chExt cx="732916" cy="968740"/>
          </a:xfrm>
        </p:grpSpPr>
        <p:sp>
          <p:nvSpPr>
            <p:cNvPr id="4" name="Rounded Rectangle 57">
              <a:extLst>
                <a:ext uri="{FF2B5EF4-FFF2-40B4-BE49-F238E27FC236}">
                  <a16:creationId xmlns:a16="http://schemas.microsoft.com/office/drawing/2014/main" id="{44FD7CB0-81E2-375A-D999-484CAE995625}"/>
                </a:ext>
              </a:extLst>
            </p:cNvPr>
            <p:cNvSpPr/>
            <p:nvPr/>
          </p:nvSpPr>
          <p:spPr>
            <a:xfrm>
              <a:off x="571715" y="2789281"/>
              <a:ext cx="341595" cy="968740"/>
            </a:xfrm>
            <a:prstGeom prst="round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7" name="Rounded Rectangle 58">
              <a:extLst>
                <a:ext uri="{FF2B5EF4-FFF2-40B4-BE49-F238E27FC236}">
                  <a16:creationId xmlns:a16="http://schemas.microsoft.com/office/drawing/2014/main" id="{BFCC6A48-F183-994D-F4BA-B34754A157CA}"/>
                </a:ext>
              </a:extLst>
            </p:cNvPr>
            <p:cNvSpPr/>
            <p:nvPr/>
          </p:nvSpPr>
          <p:spPr>
            <a:xfrm>
              <a:off x="963036" y="2789281"/>
              <a:ext cx="341595" cy="141426"/>
            </a:xfrm>
            <a:prstGeom prst="round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" name="Rounded Rectangle 59">
              <a:extLst>
                <a:ext uri="{FF2B5EF4-FFF2-40B4-BE49-F238E27FC236}">
                  <a16:creationId xmlns:a16="http://schemas.microsoft.com/office/drawing/2014/main" id="{9D94675B-5B4E-C715-4AED-CD86CC6BBD3E}"/>
                </a:ext>
              </a:extLst>
            </p:cNvPr>
            <p:cNvSpPr/>
            <p:nvPr/>
          </p:nvSpPr>
          <p:spPr>
            <a:xfrm>
              <a:off x="965963" y="2982337"/>
              <a:ext cx="225159" cy="141426"/>
            </a:xfrm>
            <a:prstGeom prst="round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" name="Rounded Rectangle 60">
              <a:extLst>
                <a:ext uri="{FF2B5EF4-FFF2-40B4-BE49-F238E27FC236}">
                  <a16:creationId xmlns:a16="http://schemas.microsoft.com/office/drawing/2014/main" id="{2C052A14-A879-40FC-9191-0B2199923227}"/>
                </a:ext>
              </a:extLst>
            </p:cNvPr>
            <p:cNvSpPr/>
            <p:nvPr/>
          </p:nvSpPr>
          <p:spPr>
            <a:xfrm>
              <a:off x="971422" y="3180968"/>
              <a:ext cx="87111" cy="141426"/>
            </a:xfrm>
            <a:prstGeom prst="round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E9D3D094-3C5B-3347-84BC-723E089609AB}"/>
              </a:ext>
            </a:extLst>
          </p:cNvPr>
          <p:cNvSpPr txBox="1"/>
          <p:nvPr/>
        </p:nvSpPr>
        <p:spPr>
          <a:xfrm>
            <a:off x="390678" y="2632511"/>
            <a:ext cx="17114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Product colours &amp; ratio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F82A0AD-1A75-E074-F45D-C19528BD614A}"/>
              </a:ext>
            </a:extLst>
          </p:cNvPr>
          <p:cNvGrpSpPr/>
          <p:nvPr/>
        </p:nvGrpSpPr>
        <p:grpSpPr>
          <a:xfrm>
            <a:off x="484969" y="4169353"/>
            <a:ext cx="1983111" cy="1377838"/>
            <a:chOff x="484969" y="4099329"/>
            <a:chExt cx="1983111" cy="1377838"/>
          </a:xfrm>
        </p:grpSpPr>
        <p:pic>
          <p:nvPicPr>
            <p:cNvPr id="14" name="Picture 13" descr="A picture containing control panel&#10;&#10;Description automatically generated">
              <a:extLst>
                <a:ext uri="{FF2B5EF4-FFF2-40B4-BE49-F238E27FC236}">
                  <a16:creationId xmlns:a16="http://schemas.microsoft.com/office/drawing/2014/main" id="{6D199632-F9AC-50BF-0DE7-D492B166222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4969" y="4099329"/>
              <a:ext cx="1133542" cy="1107716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71742E2-B1CB-9FFC-5309-887EB028D6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1053" y="4216053"/>
              <a:ext cx="1447027" cy="1261114"/>
            </a:xfrm>
            <a:prstGeom prst="rect">
              <a:avLst/>
            </a:prstGeom>
          </p:spPr>
        </p:pic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4899A510-FB50-7C21-B26E-9F57FC19F4FB}"/>
              </a:ext>
            </a:extLst>
          </p:cNvPr>
          <p:cNvSpPr/>
          <p:nvPr/>
        </p:nvSpPr>
        <p:spPr>
          <a:xfrm>
            <a:off x="8730404" y="1412875"/>
            <a:ext cx="2976648" cy="11034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Primary product body colour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This is the main product colour to be used on all 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major parts.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65497DF-E1C1-495E-52E8-2685E36F2B4D}"/>
              </a:ext>
            </a:extLst>
          </p:cNvPr>
          <p:cNvSpPr/>
          <p:nvPr/>
        </p:nvSpPr>
        <p:spPr>
          <a:xfrm>
            <a:off x="8730404" y="4916567"/>
            <a:ext cx="2976648" cy="11034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Safety / service colour</a:t>
            </a:r>
          </a:p>
          <a:p>
            <a:pPr lvl="0" defTabSz="914400">
              <a:lnSpc>
                <a:spcPct val="120000"/>
              </a:lnSpc>
              <a:spcBef>
                <a:spcPts val="600"/>
              </a:spcBef>
              <a:defRPr/>
            </a:pPr>
            <a:r>
              <a:rPr lang="en-GB" sz="80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ll parts in this colour indicate safety elements </a:t>
            </a:r>
            <a:br>
              <a:rPr lang="en-GB" sz="80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en-GB" sz="80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(e.g. charging cables, reverse buttons) and service points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0815BB5-479A-E497-82B2-7655D21A69EB}"/>
              </a:ext>
            </a:extLst>
          </p:cNvPr>
          <p:cNvSpPr/>
          <p:nvPr/>
        </p:nvSpPr>
        <p:spPr>
          <a:xfrm>
            <a:off x="8730404" y="3748669"/>
            <a:ext cx="2976648" cy="11034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User touchpoint operational colour</a:t>
            </a:r>
          </a:p>
          <a:p>
            <a:pPr lvl="0" defTabSz="914400">
              <a:lnSpc>
                <a:spcPct val="120000"/>
              </a:lnSpc>
              <a:spcBef>
                <a:spcPts val="600"/>
              </a:spcBef>
              <a:defRPr/>
            </a:pPr>
            <a:r>
              <a:rPr lang="en-GB" sz="80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witches, buttons, caps, grips. Any part in this colour is meant for interaction when operating the machine effectively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1AA68B4-F48E-DD23-3EEA-7E8FCD39A826}"/>
              </a:ext>
            </a:extLst>
          </p:cNvPr>
          <p:cNvSpPr/>
          <p:nvPr/>
        </p:nvSpPr>
        <p:spPr>
          <a:xfrm>
            <a:off x="8730404" y="2580772"/>
            <a:ext cx="2976648" cy="11034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Ergonomic / feature colour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A colour to highlight ergonomic areas (e.g. grip) and product specific features and USPs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C91EBB-5F87-292C-4C5D-1787F90497DC}"/>
              </a:ext>
            </a:extLst>
          </p:cNvPr>
          <p:cNvSpPr txBox="1"/>
          <p:nvPr/>
        </p:nvSpPr>
        <p:spPr>
          <a:xfrm>
            <a:off x="3630938" y="5351899"/>
            <a:ext cx="3219442" cy="63222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The new professional CMF palette has been extensively researched, developed and tested – </a:t>
            </a:r>
            <a:r>
              <a:rPr lang="en-GB" sz="100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it 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supports intuitive usability.</a:t>
            </a:r>
            <a:endParaRPr lang="en-GB" sz="1000" noProof="0">
              <a:latin typeface="Roboto Light"/>
              <a:ea typeface="Roboto Light"/>
              <a:cs typeface="Roboto Ligh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D925CB-137C-AC9A-F079-AB8EFE5BC96F}"/>
              </a:ext>
            </a:extLst>
          </p:cNvPr>
          <p:cNvSpPr txBox="1"/>
          <p:nvPr/>
        </p:nvSpPr>
        <p:spPr>
          <a:xfrm>
            <a:off x="2854424" y="1792821"/>
            <a:ext cx="4971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GB" sz="1800" noProof="0">
                <a:latin typeface="+mj-lt"/>
              </a:rPr>
              <a:t>New professional (PBLS) </a:t>
            </a:r>
          </a:p>
        </p:txBody>
      </p:sp>
      <p:pic>
        <p:nvPicPr>
          <p:cNvPr id="3" name="Picture 2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0F4C49C3-BFE4-1E15-AD8C-0CEDE87898B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2794" y="2387140"/>
            <a:ext cx="2907586" cy="322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47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74D809-B7FE-9972-1B66-BDA7312D57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6600A-C8D4-E45E-F902-95A4FB4DC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8570105-A9B4-E753-7BA5-A04C38EE828A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5031114-8E52-91F2-26CA-D8EF32CE12B1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6</a:t>
            </a:fld>
            <a:endParaRPr lang="en-GB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1A93B09-B889-C861-636C-283B8CB4216C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chemeClr val="bg2"/>
                </a:solidFill>
              </a:rPr>
              <a:t>Background &amp; VP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5E5DE5F2-0C43-B938-6A48-8C3E39575558}"/>
              </a:ext>
            </a:extLst>
          </p:cNvPr>
          <p:cNvSpPr txBox="1">
            <a:spLocks/>
          </p:cNvSpPr>
          <p:nvPr/>
        </p:nvSpPr>
        <p:spPr>
          <a:xfrm>
            <a:off x="1968167" y="2224409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New battery vacuum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F97C911E-246E-D48C-5BD0-6E3A67B19652}"/>
              </a:ext>
            </a:extLst>
          </p:cNvPr>
          <p:cNvSpPr txBox="1">
            <a:spLocks/>
          </p:cNvSpPr>
          <p:nvPr/>
        </p:nvSpPr>
        <p:spPr>
          <a:xfrm>
            <a:off x="1968167" y="3085666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chemeClr val="bg2"/>
                </a:solidFill>
              </a:rPr>
              <a:t>Key selling point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54FCB1DB-504F-95A8-608A-635BB594BC0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3899641"/>
            <a:ext cx="4710540" cy="698238"/>
          </a:xfrm>
        </p:spPr>
        <p:txBody>
          <a:bodyPr/>
          <a:lstStyle/>
          <a:p>
            <a:r>
              <a:rPr lang="en-GB" noProof="0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592FCF7F-868A-E7E7-EAE2-FD8BB9A9D992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 noProof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CD9C412B-F6A2-996E-A76A-36F9D669CFF9}"/>
              </a:ext>
            </a:extLst>
          </p:cNvPr>
          <p:cNvSpPr txBox="1">
            <a:spLocks/>
          </p:cNvSpPr>
          <p:nvPr/>
        </p:nvSpPr>
        <p:spPr>
          <a:xfrm>
            <a:off x="1117600" y="3082536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>
                <a:latin typeface="Roboto Black"/>
                <a:ea typeface="Roboto Black"/>
                <a:cs typeface="Roboto Black"/>
              </a:rPr>
              <a:t>3</a:t>
            </a:r>
            <a:endParaRPr lang="en-GB" noProof="0">
              <a:cs typeface="Roboto Black"/>
            </a:endParaRP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B08DF9F2-E8E4-D1C4-87C2-D0FBACC3FD79}"/>
              </a:ext>
            </a:extLst>
          </p:cNvPr>
          <p:cNvSpPr txBox="1">
            <a:spLocks/>
          </p:cNvSpPr>
          <p:nvPr/>
        </p:nvSpPr>
        <p:spPr>
          <a:xfrm>
            <a:off x="1117600" y="2224409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GB">
                <a:latin typeface="Roboto Black"/>
                <a:ea typeface="Roboto Black"/>
                <a:cs typeface="Roboto Black"/>
              </a:rPr>
              <a:t>2</a:t>
            </a:r>
            <a:endParaRPr lang="en-GB" noProof="0">
              <a:cs typeface="Roboto Black"/>
            </a:endParaRP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1093F53-3D56-A210-A8C9-D8782CB77443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4</a:t>
            </a:r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EC6248EB-5491-F0DA-92CF-6DB75AF68A2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35872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4" y="0"/>
            <a:ext cx="5991225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GB" noProof="0"/>
              <a:t> 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375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A956474-9621-6B7B-1478-89FE2AA2875A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5541558" cy="4870449"/>
          </a:xfrm>
        </p:spPr>
        <p:txBody>
          <a:bodyPr/>
          <a:lstStyle/>
          <a:p>
            <a:pPr marL="144000" marR="0" lvl="0" indent="-144000" algn="l" defTabSz="1023967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Improved serviceability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Filter</a:t>
            </a:r>
            <a:r>
              <a:rPr lang="en-GB" sz="1000" noProof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; 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easy access and </a:t>
            </a:r>
            <a:r>
              <a:rPr lang="en-GB" sz="1000" noProof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NO tools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44000" indent="-144000">
              <a:spcBef>
                <a:spcPts val="0"/>
              </a:spcBef>
            </a:pPr>
            <a:endParaRPr lang="en-GB" sz="1000" noProof="0"/>
          </a:p>
          <a:p>
            <a:pPr marL="144000" indent="-144000">
              <a:spcBef>
                <a:spcPts val="0"/>
              </a:spcBef>
              <a:buNone/>
              <a:defRPr/>
            </a:pPr>
            <a:r>
              <a:rPr lang="en-GB" sz="1000" noProof="0">
                <a:solidFill>
                  <a:srgbClr val="28313F"/>
                </a:solidFill>
                <a:latin typeface="+mj-lt"/>
                <a:ea typeface="Roboto Light"/>
              </a:rPr>
              <a:t>Performance/Efficiency/Durability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Improved cleaning </a:t>
            </a:r>
            <a:r>
              <a:rPr lang="en-GB" sz="1000" noProof="0">
                <a:latin typeface="Roboto Light"/>
                <a:ea typeface="Roboto Light"/>
                <a:cs typeface="+mn-lt"/>
              </a:rPr>
              <a:t>p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erformance despite of reducing energy consumption</a:t>
            </a:r>
          </a:p>
          <a:p>
            <a:pPr lvl="1"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Suction +50% on some parameters despite of reducing energy by -</a:t>
            </a:r>
            <a:r>
              <a:rPr lang="en-GB" sz="1000" noProof="0">
                <a:latin typeface="Roboto Light"/>
                <a:ea typeface="Roboto Light"/>
                <a:cs typeface="+mn-lt"/>
              </a:rPr>
              <a:t>20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%</a:t>
            </a:r>
          </a:p>
          <a:p>
            <a:pPr marL="199104" lvl="1" indent="0">
              <a:spcBef>
                <a:spcPts val="0"/>
              </a:spcBef>
              <a:buNone/>
              <a:defRPr/>
            </a:pPr>
            <a:r>
              <a:rPr lang="en-GB" sz="1000" i="1" noProof="0"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</a:t>
            </a:r>
            <a:r>
              <a:rPr lang="en-GB" sz="1000" i="1" noProof="0">
                <a:latin typeface="Roboto Light"/>
                <a:ea typeface="Roboto Light"/>
                <a:cs typeface="+mn-lt"/>
              </a:rPr>
              <a:t> whole structure, highly efficient brushless motor, sealings, accessories etc.</a:t>
            </a:r>
            <a:endParaRPr kumimoji="0" lang="en-GB" sz="1000" b="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Roboto Light"/>
              <a:ea typeface="Roboto Light"/>
              <a:cs typeface="+mn-lt"/>
            </a:endParaRPr>
          </a:p>
          <a:p>
            <a:pPr>
              <a:spcBef>
                <a:spcPts val="0"/>
              </a:spcBef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+mn-lt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Among best sound levels in class </a:t>
            </a:r>
          </a:p>
          <a:p>
            <a:pPr lvl="1"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Reduced 4dB (official test standards)</a:t>
            </a:r>
          </a:p>
          <a:p>
            <a:pPr lvl="1">
              <a:spcBef>
                <a:spcPts val="0"/>
              </a:spcBef>
              <a:defRPr/>
            </a:pPr>
            <a:endParaRPr lang="en-GB" sz="1000" noProof="0">
              <a:solidFill>
                <a:srgbClr val="28313F"/>
              </a:solidFill>
              <a:latin typeface="Roboto Light"/>
              <a:ea typeface="Roboto Light"/>
              <a:cs typeface="+mn-lt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Increased durability and possible daily use </a:t>
            </a:r>
          </a:p>
          <a:p>
            <a:pPr lvl="1">
              <a:spcBef>
                <a:spcPts val="0"/>
              </a:spcBef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Decent size prefilter and one of best net-filling capacities in-between cordless prof VACs </a:t>
            </a:r>
            <a:b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</a:br>
            <a:endParaRPr lang="en-GB" sz="1000" noProof="0"/>
          </a:p>
          <a:p>
            <a:pPr marL="144000" marR="0" lvl="0" indent="-14400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en-GB" sz="1000" noProof="0">
                <a:solidFill>
                  <a:srgbClr val="28313F"/>
                </a:solidFill>
                <a:latin typeface="+mj-lt"/>
                <a:ea typeface="Roboto Light"/>
              </a:rPr>
              <a:t>Enhanced UX/Convenience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Reduced weight – </a:t>
            </a:r>
            <a:r>
              <a:rPr kumimoji="0" lang="en-GB" sz="1000" b="0" i="0" u="sng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extraordinarily</a:t>
            </a:r>
            <a:r>
              <a:rPr kumimoji="0" lang="en-GB" sz="1000" b="0" i="0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 (3kg’s less incl. battery and machine vs VP600 B)</a:t>
            </a:r>
            <a:endParaRPr kumimoji="0" lang="en-GB" sz="1000" b="0" i="0" u="sng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Compact footprint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Fast hot swap of battery </a:t>
            </a:r>
            <a:r>
              <a:rPr lang="en-GB" sz="1000" noProof="0">
                <a:solidFill>
                  <a:srgbClr val="28313F"/>
                </a:solidFill>
                <a:ea typeface="Roboto Light"/>
                <a:cs typeface="Roboto Light"/>
              </a:rPr>
              <a:t>– and highlighted touch points across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Ergonomic shaped touch points (Handle, bent-end, latch)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Durable large power switch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Icon and illustration guidance (battery areas, main filter door, prefilter etc)</a:t>
            </a:r>
          </a:p>
          <a:p>
            <a:pPr>
              <a:spcBef>
                <a:spcPts val="0"/>
              </a:spcBef>
              <a:defRPr/>
            </a:pPr>
            <a:r>
              <a:rPr lang="en-GB" sz="1000" noProof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Easy hose repair/replacement 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44000" indent="-144000">
              <a:spcBef>
                <a:spcPts val="0"/>
              </a:spcBef>
            </a:pPr>
            <a:endParaRPr lang="en-GB" sz="1000" noProof="0"/>
          </a:p>
          <a:p>
            <a:pPr marL="144000" indent="-144000">
              <a:spcBef>
                <a:spcPts val="0"/>
              </a:spcBef>
              <a:buNone/>
              <a:defRPr/>
            </a:pPr>
            <a:r>
              <a:rPr lang="en-GB" sz="1000" noProof="0">
                <a:solidFill>
                  <a:srgbClr val="28313F"/>
                </a:solidFill>
                <a:latin typeface="+mj-lt"/>
                <a:ea typeface="Roboto Light"/>
              </a:rPr>
              <a:t>Modernized design 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art of VP300 ‘series’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mproved packaging content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selling points)</a:t>
            </a:r>
          </a:p>
          <a:p>
            <a:pPr marL="144000" indent="-144000">
              <a:spcBef>
                <a:spcPts val="0"/>
              </a:spcBef>
            </a:pPr>
            <a:endParaRPr lang="en-GB" sz="1000" noProof="0"/>
          </a:p>
          <a:p>
            <a:pPr marL="144000" marR="0" lvl="0" indent="-14400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en-GB" sz="1000" noProof="0">
                <a:solidFill>
                  <a:srgbClr val="28313F"/>
                </a:solidFill>
                <a:latin typeface="+mj-lt"/>
                <a:ea typeface="Roboto Light"/>
              </a:rPr>
              <a:t>Service/maintenance kits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Light (5x paper bags, 1x HEPA, 1x Motor filter)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lus (20x paper bags, 1x HEPA, 1x Motor filter)</a:t>
            </a:r>
          </a:p>
          <a:p>
            <a:pPr marL="144000" indent="-144000">
              <a:spcBef>
                <a:spcPts val="0"/>
              </a:spcBef>
            </a:pPr>
            <a:endParaRPr lang="en-GB" sz="1000" noProof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7</a:t>
            </a:fld>
            <a:endParaRPr lang="en-GB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2" y="873877"/>
            <a:ext cx="5539606" cy="37645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>
                <a:ea typeface="Roboto Light"/>
              </a:rPr>
              <a:t>VP500 highlights</a:t>
            </a:r>
            <a:endParaRPr lang="en-GB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11802" cy="388013"/>
          </a:xfrm>
        </p:spPr>
        <p:txBody>
          <a:bodyPr vert="horz"/>
          <a:lstStyle/>
          <a:p>
            <a:r>
              <a:rPr lang="en-GB"/>
              <a:t>2</a:t>
            </a:r>
            <a:r>
              <a:rPr lang="en-GB" noProof="0"/>
              <a:t> | New battery vacuum</a:t>
            </a:r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/>
          <p:nvPr/>
        </p:nvCxnSpPr>
        <p:spPr>
          <a:xfrm rot="10800000" flipH="1">
            <a:off x="9198640" y="4235543"/>
            <a:ext cx="1351880" cy="67499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41811" y="1766233"/>
            <a:ext cx="20200" cy="246060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612798" y="4226833"/>
            <a:ext cx="1577371" cy="67507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758283" y="4665585"/>
            <a:ext cx="1467145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8 mm 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.66 in</a:t>
            </a: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301536" y="4764994"/>
            <a:ext cx="1147475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40 mm / </a:t>
            </a:r>
            <a:b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3.38 in</a:t>
            </a: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603315" y="2467362"/>
            <a:ext cx="1077335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5 mm / </a:t>
            </a:r>
            <a:b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 noProof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.55 in</a:t>
            </a:r>
          </a:p>
        </p:txBody>
      </p:sp>
      <p:pic>
        <p:nvPicPr>
          <p:cNvPr id="15" name="Picture 14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6A070FB4-6B1F-8BAC-100B-4A9AA0BF3C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7364" y="1555934"/>
            <a:ext cx="3258043" cy="360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4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03414-D1B4-4530-3E41-8581EE44C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781DE3E-A3FD-4DF6-E64D-B0B500025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999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781DE3E-A3FD-4DF6-E64D-B0B500025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D8F4A3-75ED-EA45-83A2-97E32E6827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02697"/>
          </a:xfrm>
        </p:spPr>
        <p:txBody>
          <a:bodyPr/>
          <a:lstStyle/>
          <a:p>
            <a:r>
              <a:rPr lang="en-GB" noProof="0"/>
              <a:t>Technical specs of VP500 range</a:t>
            </a:r>
            <a:endParaRPr lang="en-GB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8DC875C-9896-AED1-A442-192D14E3F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2</a:t>
            </a:r>
            <a:r>
              <a:rPr lang="en-GB" noProof="0"/>
              <a:t> | New battery vacuu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944EDA2-A964-37C1-EB0C-20B835D79F2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46BBDF-9444-B586-FD5C-162F741DF6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8</a:t>
            </a:fld>
            <a:endParaRPr lang="en-GB" noProof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0BCE8C4-1908-4F13-CDDF-73660AE64F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9029863"/>
              </p:ext>
            </p:extLst>
          </p:nvPr>
        </p:nvGraphicFramePr>
        <p:xfrm>
          <a:off x="479446" y="1382581"/>
          <a:ext cx="6176974" cy="4852416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692322">
                  <a:extLst>
                    <a:ext uri="{9D8B030D-6E8A-4147-A177-3AD203B41FA5}">
                      <a16:colId xmlns:a16="http://schemas.microsoft.com/office/drawing/2014/main" val="3376735677"/>
                    </a:ext>
                  </a:extLst>
                </a:gridCol>
                <a:gridCol w="676928">
                  <a:extLst>
                    <a:ext uri="{9D8B030D-6E8A-4147-A177-3AD203B41FA5}">
                      <a16:colId xmlns:a16="http://schemas.microsoft.com/office/drawing/2014/main" val="2598673169"/>
                    </a:ext>
                  </a:extLst>
                </a:gridCol>
                <a:gridCol w="1015393">
                  <a:extLst>
                    <a:ext uri="{9D8B030D-6E8A-4147-A177-3AD203B41FA5}">
                      <a16:colId xmlns:a16="http://schemas.microsoft.com/office/drawing/2014/main" val="3942922356"/>
                    </a:ext>
                  </a:extLst>
                </a:gridCol>
                <a:gridCol w="84616">
                  <a:extLst>
                    <a:ext uri="{9D8B030D-6E8A-4147-A177-3AD203B41FA5}">
                      <a16:colId xmlns:a16="http://schemas.microsoft.com/office/drawing/2014/main" val="4077217836"/>
                    </a:ext>
                  </a:extLst>
                </a:gridCol>
                <a:gridCol w="84616">
                  <a:extLst>
                    <a:ext uri="{9D8B030D-6E8A-4147-A177-3AD203B41FA5}">
                      <a16:colId xmlns:a16="http://schemas.microsoft.com/office/drawing/2014/main" val="720710229"/>
                    </a:ext>
                  </a:extLst>
                </a:gridCol>
                <a:gridCol w="846161">
                  <a:extLst>
                    <a:ext uri="{9D8B030D-6E8A-4147-A177-3AD203B41FA5}">
                      <a16:colId xmlns:a16="http://schemas.microsoft.com/office/drawing/2014/main" val="3340770028"/>
                    </a:ext>
                  </a:extLst>
                </a:gridCol>
                <a:gridCol w="846161">
                  <a:extLst>
                    <a:ext uri="{9D8B030D-6E8A-4147-A177-3AD203B41FA5}">
                      <a16:colId xmlns:a16="http://schemas.microsoft.com/office/drawing/2014/main" val="1289157776"/>
                    </a:ext>
                  </a:extLst>
                </a:gridCol>
                <a:gridCol w="846161">
                  <a:extLst>
                    <a:ext uri="{9D8B030D-6E8A-4147-A177-3AD203B41FA5}">
                      <a16:colId xmlns:a16="http://schemas.microsoft.com/office/drawing/2014/main" val="3394952989"/>
                    </a:ext>
                  </a:extLst>
                </a:gridCol>
                <a:gridCol w="84616">
                  <a:extLst>
                    <a:ext uri="{9D8B030D-6E8A-4147-A177-3AD203B41FA5}">
                      <a16:colId xmlns:a16="http://schemas.microsoft.com/office/drawing/2014/main" val="3517609390"/>
                    </a:ext>
                  </a:extLst>
                </a:gridCol>
              </a:tblGrid>
              <a:tr h="91440">
                <a:tc>
                  <a:txBody>
                    <a:bodyPr/>
                    <a:lstStyle/>
                    <a:p>
                      <a:pPr algn="l" defTabSz="1023967" fontAlgn="b">
                        <a:buNone/>
                      </a:pPr>
                      <a:endParaRPr lang="en-GB" sz="10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6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Country variant</a:t>
                      </a:r>
                    </a:p>
                  </a:txBody>
                  <a:tcPr marL="45720" marR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fontAlgn="b">
                        <a:buNone/>
                      </a:pPr>
                      <a:endParaRPr lang="en-GB" sz="7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6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1023967" fontAlgn="b">
                        <a:buNone/>
                      </a:pPr>
                      <a:endParaRPr lang="en-GB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6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EU/UK</a:t>
                      </a: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1023967" fontAlgn="b">
                        <a:buNone/>
                      </a:pPr>
                      <a:endParaRPr lang="en-GB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5192300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algn="l" defTabSz="1023967" fontAlgn="b">
                        <a:buNone/>
                      </a:pPr>
                      <a:endParaRPr lang="en-GB" sz="7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tem number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fontAlgn="b">
                        <a:buNone/>
                      </a:pPr>
                      <a:endParaRPr lang="en-GB" sz="7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0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16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2589179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algn="ctr" defTabSz="1023967" fontAlgn="b">
                        <a:buNone/>
                      </a:pPr>
                      <a:endParaRPr lang="en-GB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scription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ote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EU/UK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EU/UK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2BP EU/UK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705659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Technical data</a:t>
                      </a:r>
                    </a:p>
                  </a:txBody>
                  <a:tcPr marL="0" marT="128016" marB="27432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0338104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oltage / Frequency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/Hz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19382233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rotection class / IP protection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 / IP2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 / IP2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 / IP2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9613248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Rated power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3591849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irflow (Max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s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1227035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irflow (end of tube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s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4715703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acuum (at nozzle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Pa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4646881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uction power (end of tube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037024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ound level 2m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  <a:sym typeface=""/>
                        </a:rPr>
                        <a:t>Sound at working/operation </a:t>
                      </a:r>
                      <a:br>
                        <a:rPr lang="en-GB" sz="500" b="0" i="0" u="none" strike="noStrike" kern="1200" cap="none" spc="0" normalizeH="0" baseline="0" noProof="0" dirty="0">
                          <a:solidFill>
                            <a:srgbClr val="28313F"/>
                          </a:solidFill>
                          <a:effectLst/>
                          <a:latin typeface="Roboto Ligh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  <a:sym typeface=""/>
                        </a:rPr>
                        <a:t>position; 2m distance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577812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ound pressure level @1m (IEC 60335-2-69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2153579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Run time up to NBP60 / NBP100 (Eco mode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 / 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 / 9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 / 9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647413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pacity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5995138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in filter type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5727990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in filter area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3976774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eight (machine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chine only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2473485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imensions (LxWxH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47543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Features</a:t>
                      </a:r>
                    </a:p>
                  </a:txBody>
                  <a:tcPr marL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89879362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tachable cord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5692874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rdless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7156907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filtration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5374784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Recycled material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09215990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urable rewind system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09885824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ilent mode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(Dual speed)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0560858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ast charge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2935318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ube parking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7991122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ool storage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1426058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rgonomic handle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50092791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rgo bent-end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457822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rgo+ bent-end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  <a:sym typeface=""/>
                        </a:rPr>
                        <a:t>2k/soft </a:t>
                      </a:r>
                      <a:r>
                        <a:rPr lang="en-GB" sz="500" b="0" i="0" u="none" strike="noStrike" kern="1200" cap="none" spc="0" normalizeH="0" baseline="0" noProof="0" dirty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  <a:sym typeface=""/>
                        </a:rPr>
                        <a:t>overmold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2041128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1378704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ust bags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92899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403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74A6D9-D14E-003F-4B09-190992716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18220CA-B854-5100-DF52-E03480C3F7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18220CA-B854-5100-DF52-E03480C3F7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6561C4-EFB7-A35D-B8B2-BBB2367A27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Configuration of VP500 range | How are the machines equipped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4D26BA6-E6EB-5C3A-8CD8-702971FBB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2</a:t>
            </a:r>
            <a:r>
              <a:rPr lang="en-GB" noProof="0"/>
              <a:t> | New battery vacuu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EEEB2C-886D-746F-8756-766F1C2A4E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F455E9-F9A9-A16E-41DC-E86F15F99D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pPr/>
              <a:t>9</a:t>
            </a:fld>
            <a:endParaRPr lang="en-GB" noProof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BB01EF8-9666-32CB-0DD3-902E60522E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9723989"/>
              </p:ext>
            </p:extLst>
          </p:nvPr>
        </p:nvGraphicFramePr>
        <p:xfrm>
          <a:off x="482191" y="1411924"/>
          <a:ext cx="6572304" cy="4864608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1236876777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248509527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4013411153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3316720918"/>
                    </a:ext>
                  </a:extLst>
                </a:gridCol>
                <a:gridCol w="85752">
                  <a:extLst>
                    <a:ext uri="{9D8B030D-6E8A-4147-A177-3AD203B41FA5}">
                      <a16:colId xmlns:a16="http://schemas.microsoft.com/office/drawing/2014/main" val="959320649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42754286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406250848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3335966171"/>
                    </a:ext>
                  </a:extLst>
                </a:gridCol>
                <a:gridCol w="85752">
                  <a:extLst>
                    <a:ext uri="{9D8B030D-6E8A-4147-A177-3AD203B41FA5}">
                      <a16:colId xmlns:a16="http://schemas.microsoft.com/office/drawing/2014/main" val="73632062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600" b="0" i="0" u="none" strike="noStrike" kern="1200" cap="none" spc="0" normalizeH="0" baseline="0" noProof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6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Country variant</a:t>
                      </a:r>
                    </a:p>
                  </a:txBody>
                  <a:tcPr marL="45720" marR="0" marT="9144" marB="9144" anchor="ctr">
                    <a:lnL>
                      <a:noFill/>
                    </a:lnL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fontAlgn="b">
                        <a:buNone/>
                      </a:pPr>
                      <a:endParaRPr lang="en-GB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fontAlgn="b">
                        <a:buNone/>
                      </a:pPr>
                      <a:endParaRPr lang="en-GB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1023967" fontAlgn="b">
                        <a:buNone/>
                      </a:pPr>
                      <a:endParaRPr lang="en-GB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6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EU/UK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1023967" fontAlgn="b">
                        <a:buNone/>
                      </a:pPr>
                      <a:endParaRPr lang="en-GB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90222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fontAlgn="b">
                        <a:buNone/>
                      </a:pPr>
                      <a:endParaRPr lang="en-GB" sz="6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tem number</a:t>
                      </a:r>
                    </a:p>
                  </a:txBody>
                  <a:tcPr marL="4572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fontAlgn="b">
                        <a:buNone/>
                      </a:pPr>
                      <a:endParaRPr lang="en-GB" sz="6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fontAlgn="b">
                        <a:buNone/>
                      </a:pPr>
                      <a:endParaRPr lang="en-GB" sz="6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02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16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0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126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defTabSz="1023967" fontAlgn="b">
                        <a:buNone/>
                      </a:pPr>
                      <a:endParaRPr lang="en-GB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scription</a:t>
                      </a:r>
                    </a:p>
                  </a:txBody>
                  <a:tcPr marL="4572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ote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EU/UK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EU/UK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2BP EU/UK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53075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Accessories 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62637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ube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3422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tension tube steel D32 – Black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246 04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86691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tension tube aluminium – Black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7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21681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elescopic tube aluminium – Black/Blue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63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42525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tension tube steel 450mm (short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246 05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8114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Hose &amp; bent-end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061919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ose W connectors D3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9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25961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ose CPL W bent-end D3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72959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ose CPL W bent-end PREM D3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5327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ent-end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6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9495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ent-end PRE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5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1844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508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Floor nozzles </a:t>
                      </a:r>
                    </a:p>
                  </a:txBody>
                  <a:tcPr marL="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7079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ulti surface nozzle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6700 54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4238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bi nozzle RD295P W.CLI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779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45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bi nozzle RD295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492 52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3120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bi nozzle RD277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1677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9977555"/>
                  </a:ext>
                </a:extLst>
              </a:tr>
              <a:tr h="65802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bi nozzle J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0514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1256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Filters &amp; bag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533883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 filter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1250 6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62975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4 filter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3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0807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tandard filter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4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8033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ack prefilter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1432 5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65127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otor filter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0670 0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17802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eece dust bag 10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236782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9669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aper dust bag 5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236781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7234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aper dust bag 10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618 0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71256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Reusable dust bag 1-P (cloth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22518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19327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intenance kit VP300/400/500/700 – Light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4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0015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intenance kit VP300/400/500/700 – Plu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5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42193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old" panose="02000000000000000000" pitchFamily="2" charset="0"/>
                        <a:ea typeface="Roboto Bold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997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Other accessories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373215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Round brush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244 5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95217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revice nozzle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0146 5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2867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remium HF nozzle 350m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308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802857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remium HF nozzle 495m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308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28636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Radiator crevice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15304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8180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Battery &amp; charger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66315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BP60 36V Li – 6Ah compact battery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7902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 (x2)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51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BP100 36V Li – 10Ah compact battery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7902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2685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BC215 36V fast charger – W/O cord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7605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61601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harger cord EU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2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m length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55721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harger cord UK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3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m length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546713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harger cord AU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4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m length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64858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harger cord CN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5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m length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85240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harger cord J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6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m length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99242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harger cord U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7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5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m length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500" b="0" i="0" u="none" strike="noStrike" kern="1200" cap="none" spc="0" normalizeH="0" baseline="0" noProof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5097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062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3102120-262f-4f6d-be7c-40f99fe7fb1e" xsi:nil="true"/>
    <lcf76f155ced4ddcb4097134ff3c332f xmlns="b7efd724-ec55-4578-ab7a-10f2c984af5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4" ma:contentTypeDescription="Create a new document." ma:contentTypeScope="" ma:versionID="06e5e9beb7018c469fc07432c7ac54f4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33cc8b96f457e242bdc17ec337ca6fd4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101d09d1-2fba-4d93-a45c-1211151ee786"/>
    <ds:schemaRef ds:uri="9a261087-ddb5-4fc3-ae00-ca27a630481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3102120-262f-4f6d-be7c-40f99fe7fb1e"/>
    <ds:schemaRef ds:uri="b7efd724-ec55-4578-ab7a-10f2c984af51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CD7FE3B-8EFC-4CFF-9516-5B743BBE30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efd724-ec55-4578-ab7a-10f2c984af51"/>
    <ds:schemaRef ds:uri="43102120-262f-4f6d-be7c-40f99fe7fb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 07-03-2022</Template>
  <TotalTime>0</TotalTime>
  <Words>6319</Words>
  <Application>Microsoft Office PowerPoint</Application>
  <PresentationFormat>Widescreen</PresentationFormat>
  <Paragraphs>2108</Paragraphs>
  <Slides>24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Nilfisk Toolbox_Standard_4-3</vt:lpstr>
      <vt:lpstr>Nilfisk VP500 Commercial dry vacuum EXTERNAL sales presentation</vt:lpstr>
      <vt:lpstr>Agenda</vt:lpstr>
      <vt:lpstr>Agenda</vt:lpstr>
      <vt:lpstr>1 | Background </vt:lpstr>
      <vt:lpstr>1 | Background – Brand &amp; Design</vt:lpstr>
      <vt:lpstr>Agenda</vt:lpstr>
      <vt:lpstr>2 | New battery vacuum</vt:lpstr>
      <vt:lpstr>2 | New battery vacuum</vt:lpstr>
      <vt:lpstr>2 | New battery vacuum</vt:lpstr>
      <vt:lpstr>2 | New battery vacuum</vt:lpstr>
      <vt:lpstr>Agenda</vt:lpstr>
      <vt:lpstr>3 | VP500 features</vt:lpstr>
      <vt:lpstr>3 | VP500 features</vt:lpstr>
      <vt:lpstr>3 | VP500 features</vt:lpstr>
      <vt:lpstr>3 | VP500 features</vt:lpstr>
      <vt:lpstr>3 | VP500 features</vt:lpstr>
      <vt:lpstr>3 | VP500 features – Filtration</vt:lpstr>
      <vt:lpstr>Agenda</vt:lpstr>
      <vt:lpstr>4 | New battery platform</vt:lpstr>
      <vt:lpstr>4 | New battery platform</vt:lpstr>
      <vt:lpstr>4 | New battery platform</vt:lpstr>
      <vt:lpstr>4 | Packaging</vt:lpstr>
      <vt:lpstr>4 | Marketing  Dealer Packag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Esben Graff</dc:creator>
  <cp:lastModifiedBy>Tine Maribo</cp:lastModifiedBy>
  <cp:revision>113</cp:revision>
  <dcterms:created xsi:type="dcterms:W3CDTF">2022-03-29T11:25:32Z</dcterms:created>
  <dcterms:modified xsi:type="dcterms:W3CDTF">2025-12-19T10:1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E71FA70480891C48935BB403F91A8985</vt:lpwstr>
  </property>
  <property fmtid="{D5CDD505-2E9C-101B-9397-08002B2CF9AE}" pid="6" name="MSIP_Label_c1c1fc1b-71f6-4e55-b88d-a4d9044b10bf_Enabled">
    <vt:lpwstr>true</vt:lpwstr>
  </property>
  <property fmtid="{D5CDD505-2E9C-101B-9397-08002B2CF9AE}" pid="7" name="MSIP_Label_c1c1fc1b-71f6-4e55-b88d-a4d9044b10bf_SetDate">
    <vt:lpwstr>2022-03-29T11:34:17Z</vt:lpwstr>
  </property>
  <property fmtid="{D5CDD505-2E9C-101B-9397-08002B2CF9AE}" pid="8" name="MSIP_Label_c1c1fc1b-71f6-4e55-b88d-a4d9044b10bf_Method">
    <vt:lpwstr>Privileged</vt:lpwstr>
  </property>
  <property fmtid="{D5CDD505-2E9C-101B-9397-08002B2CF9AE}" pid="9" name="MSIP_Label_c1c1fc1b-71f6-4e55-b88d-a4d9044b10bf_Name">
    <vt:lpwstr>Nilfisk secret</vt:lpwstr>
  </property>
  <property fmtid="{D5CDD505-2E9C-101B-9397-08002B2CF9AE}" pid="10" name="MSIP_Label_c1c1fc1b-71f6-4e55-b88d-a4d9044b10bf_SiteId">
    <vt:lpwstr>753c5d99-05be-4237-b4c5-fdb2e6b32ab2</vt:lpwstr>
  </property>
  <property fmtid="{D5CDD505-2E9C-101B-9397-08002B2CF9AE}" pid="11" name="MSIP_Label_c1c1fc1b-71f6-4e55-b88d-a4d9044b10bf_ActionId">
    <vt:lpwstr>5172cd7c-cf70-427c-9652-15fc36e67b62</vt:lpwstr>
  </property>
  <property fmtid="{D5CDD505-2E9C-101B-9397-08002B2CF9AE}" pid="12" name="MSIP_Label_c1c1fc1b-71f6-4e55-b88d-a4d9044b10bf_ContentBits">
    <vt:lpwstr>2</vt:lpwstr>
  </property>
  <property fmtid="{D5CDD505-2E9C-101B-9397-08002B2CF9AE}" pid="13" name="MediaServiceImageTags">
    <vt:lpwstr/>
  </property>
</Properties>
</file>